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65" r:id="rId2"/>
    <p:sldId id="366" r:id="rId3"/>
    <p:sldId id="367" r:id="rId4"/>
    <p:sldId id="404" r:id="rId5"/>
    <p:sldId id="409" r:id="rId6"/>
    <p:sldId id="412" r:id="rId7"/>
    <p:sldId id="369" r:id="rId8"/>
    <p:sldId id="379" r:id="rId9"/>
    <p:sldId id="423" r:id="rId10"/>
    <p:sldId id="424" r:id="rId11"/>
    <p:sldId id="425" r:id="rId12"/>
    <p:sldId id="426" r:id="rId13"/>
    <p:sldId id="427" r:id="rId14"/>
    <p:sldId id="428" r:id="rId15"/>
    <p:sldId id="429" r:id="rId16"/>
    <p:sldId id="389" r:id="rId17"/>
    <p:sldId id="430" r:id="rId18"/>
    <p:sldId id="431" r:id="rId19"/>
    <p:sldId id="433" r:id="rId20"/>
  </p:sldIdLst>
  <p:sldSz cx="9906000" cy="6858000" type="A4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177">
          <p15:clr>
            <a:srgbClr val="A4A3A4"/>
          </p15:clr>
        </p15:guide>
        <p15:guide id="3" orient="horz" pos="4319">
          <p15:clr>
            <a:srgbClr val="A4A3A4"/>
          </p15:clr>
        </p15:guide>
        <p15:guide id="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E44"/>
    <a:srgbClr val="FDF21A"/>
    <a:srgbClr val="3A7EC0"/>
    <a:srgbClr val="8BAE4A"/>
    <a:srgbClr val="67674B"/>
    <a:srgbClr val="9BA5AE"/>
    <a:srgbClr val="000000"/>
    <a:srgbClr val="2E69B3"/>
    <a:srgbClr val="2E69A4"/>
    <a:srgbClr val="2453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8F06E2-FB8C-40C1-BF92-BEB2BC840A85}" v="665" dt="2023-12-12T14:28:56.4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94" autoAdjust="0"/>
    <p:restoredTop sz="99072" autoAdjust="0"/>
  </p:normalViewPr>
  <p:slideViewPr>
    <p:cSldViewPr snapToObjects="1">
      <p:cViewPr varScale="1">
        <p:scale>
          <a:sx n="109" d="100"/>
          <a:sy n="109" d="100"/>
        </p:scale>
        <p:origin x="1056" y="108"/>
      </p:cViewPr>
      <p:guideLst>
        <p:guide orient="horz" pos="2160"/>
        <p:guide pos="177"/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04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-4240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ne Tangen" userId="ec6dd4d0-9964-4f1e-b96c-324c3d55b21c" providerId="ADAL" clId="{158F06E2-FB8C-40C1-BF92-BEB2BC840A85}"/>
    <pc:docChg chg="custSel delSld modSld replTag">
      <pc:chgData name="Une Tangen" userId="ec6dd4d0-9964-4f1e-b96c-324c3d55b21c" providerId="ADAL" clId="{158F06E2-FB8C-40C1-BF92-BEB2BC840A85}" dt="2023-12-12T14:56:36.576" v="1707" actId="47"/>
      <pc:docMkLst>
        <pc:docMk/>
      </pc:docMkLst>
      <pc:sldChg chg="modSp mod">
        <pc:chgData name="Une Tangen" userId="ec6dd4d0-9964-4f1e-b96c-324c3d55b21c" providerId="ADAL" clId="{158F06E2-FB8C-40C1-BF92-BEB2BC840A85}" dt="2023-12-12T14:28:54.948" v="1412"/>
        <pc:sldMkLst>
          <pc:docMk/>
          <pc:sldMk cId="3504548383" sldId="366"/>
        </pc:sldMkLst>
        <pc:picChg chg="mod">
          <ac:chgData name="Une Tangen" userId="ec6dd4d0-9964-4f1e-b96c-324c3d55b21c" providerId="ADAL" clId="{158F06E2-FB8C-40C1-BF92-BEB2BC840A85}" dt="2023-12-12T14:28:54.948" v="1412"/>
          <ac:picMkLst>
            <pc:docMk/>
            <pc:sldMk cId="3504548383" sldId="366"/>
            <ac:picMk id="8" creationId="{00000000-0000-0000-0000-000000000000}"/>
          </ac:picMkLst>
        </pc:picChg>
      </pc:sldChg>
      <pc:sldChg chg="modSp mod">
        <pc:chgData name="Une Tangen" userId="ec6dd4d0-9964-4f1e-b96c-324c3d55b21c" providerId="ADAL" clId="{158F06E2-FB8C-40C1-BF92-BEB2BC840A85}" dt="2023-12-12T14:28:54.953" v="1414"/>
        <pc:sldMkLst>
          <pc:docMk/>
          <pc:sldMk cId="1092896516" sldId="367"/>
        </pc:sldMkLst>
        <pc:picChg chg="mod">
          <ac:chgData name="Une Tangen" userId="ec6dd4d0-9964-4f1e-b96c-324c3d55b21c" providerId="ADAL" clId="{158F06E2-FB8C-40C1-BF92-BEB2BC840A85}" dt="2023-12-12T14:28:54.953" v="1414"/>
          <ac:picMkLst>
            <pc:docMk/>
            <pc:sldMk cId="1092896516" sldId="367"/>
            <ac:picMk id="8" creationId="{00000000-0000-0000-0000-000000000000}"/>
          </ac:picMkLst>
        </pc:picChg>
      </pc:sldChg>
      <pc:sldChg chg="modSp mod">
        <pc:chgData name="Une Tangen" userId="ec6dd4d0-9964-4f1e-b96c-324c3d55b21c" providerId="ADAL" clId="{158F06E2-FB8C-40C1-BF92-BEB2BC840A85}" dt="2023-12-12T14:28:54.990" v="1420"/>
        <pc:sldMkLst>
          <pc:docMk/>
          <pc:sldMk cId="2130092900" sldId="369"/>
        </pc:sldMkLst>
        <pc:spChg chg="mod">
          <ac:chgData name="Une Tangen" userId="ec6dd4d0-9964-4f1e-b96c-324c3d55b21c" providerId="ADAL" clId="{158F06E2-FB8C-40C1-BF92-BEB2BC840A85}" dt="2023-12-11T20:53:25.520" v="257" actId="20577"/>
          <ac:spMkLst>
            <pc:docMk/>
            <pc:sldMk cId="2130092900" sldId="369"/>
            <ac:spMk id="16" creationId="{00000000-0000-0000-0000-000000000000}"/>
          </ac:spMkLst>
        </pc:spChg>
        <pc:picChg chg="mod">
          <ac:chgData name="Une Tangen" userId="ec6dd4d0-9964-4f1e-b96c-324c3d55b21c" providerId="ADAL" clId="{158F06E2-FB8C-40C1-BF92-BEB2BC840A85}" dt="2023-12-12T14:28:54.990" v="1420"/>
          <ac:picMkLst>
            <pc:docMk/>
            <pc:sldMk cId="2130092900" sldId="369"/>
            <ac:picMk id="11" creationId="{00000000-0000-0000-0000-000000000000}"/>
          </ac:picMkLst>
        </pc:picChg>
      </pc:sldChg>
      <pc:sldChg chg="modSp del mod">
        <pc:chgData name="Une Tangen" userId="ec6dd4d0-9964-4f1e-b96c-324c3d55b21c" providerId="ADAL" clId="{158F06E2-FB8C-40C1-BF92-BEB2BC840A85}" dt="2023-12-12T14:56:34.234" v="1705" actId="47"/>
        <pc:sldMkLst>
          <pc:docMk/>
          <pc:sldMk cId="209905740" sldId="374"/>
        </pc:sldMkLst>
        <pc:picChg chg="mod">
          <ac:chgData name="Une Tangen" userId="ec6dd4d0-9964-4f1e-b96c-324c3d55b21c" providerId="ADAL" clId="{158F06E2-FB8C-40C1-BF92-BEB2BC840A85}" dt="2023-12-12T14:28:54.321" v="1334"/>
          <ac:picMkLst>
            <pc:docMk/>
            <pc:sldMk cId="209905740" sldId="374"/>
            <ac:picMk id="2" creationId="{00000000-0000-0000-0000-000000000000}"/>
          </ac:picMkLst>
        </pc:picChg>
      </pc:sldChg>
      <pc:sldChg chg="modSp del mod">
        <pc:chgData name="Une Tangen" userId="ec6dd4d0-9964-4f1e-b96c-324c3d55b21c" providerId="ADAL" clId="{158F06E2-FB8C-40C1-BF92-BEB2BC840A85}" dt="2023-12-12T14:56:35.421" v="1706" actId="47"/>
        <pc:sldMkLst>
          <pc:docMk/>
          <pc:sldMk cId="3902256485" sldId="375"/>
        </pc:sldMkLst>
        <pc:picChg chg="mod">
          <ac:chgData name="Une Tangen" userId="ec6dd4d0-9964-4f1e-b96c-324c3d55b21c" providerId="ADAL" clId="{158F06E2-FB8C-40C1-BF92-BEB2BC840A85}" dt="2023-12-12T14:28:54.335" v="1336"/>
          <ac:picMkLst>
            <pc:docMk/>
            <pc:sldMk cId="3902256485" sldId="375"/>
            <ac:picMk id="2" creationId="{00000000-0000-0000-0000-000000000000}"/>
          </ac:picMkLst>
        </pc:picChg>
      </pc:sldChg>
      <pc:sldChg chg="modSp del mod">
        <pc:chgData name="Une Tangen" userId="ec6dd4d0-9964-4f1e-b96c-324c3d55b21c" providerId="ADAL" clId="{158F06E2-FB8C-40C1-BF92-BEB2BC840A85}" dt="2023-12-12T14:56:36.576" v="1707" actId="47"/>
        <pc:sldMkLst>
          <pc:docMk/>
          <pc:sldMk cId="573452631" sldId="378"/>
        </pc:sldMkLst>
        <pc:picChg chg="mod">
          <ac:chgData name="Une Tangen" userId="ec6dd4d0-9964-4f1e-b96c-324c3d55b21c" providerId="ADAL" clId="{158F06E2-FB8C-40C1-BF92-BEB2BC840A85}" dt="2023-12-12T14:28:55.011" v="1422"/>
          <ac:picMkLst>
            <pc:docMk/>
            <pc:sldMk cId="573452631" sldId="378"/>
            <ac:picMk id="2" creationId="{00000000-0000-0000-0000-000000000000}"/>
          </ac:picMkLst>
        </pc:picChg>
      </pc:sldChg>
      <pc:sldChg chg="modSp mod">
        <pc:chgData name="Une Tangen" userId="ec6dd4d0-9964-4f1e-b96c-324c3d55b21c" providerId="ADAL" clId="{158F06E2-FB8C-40C1-BF92-BEB2BC840A85}" dt="2023-12-12T14:28:55.898" v="1524"/>
        <pc:sldMkLst>
          <pc:docMk/>
          <pc:sldMk cId="1594532518" sldId="379"/>
        </pc:sldMkLst>
        <pc:spChg chg="mod">
          <ac:chgData name="Une Tangen" userId="ec6dd4d0-9964-4f1e-b96c-324c3d55b21c" providerId="ADAL" clId="{158F06E2-FB8C-40C1-BF92-BEB2BC840A85}" dt="2023-12-12T14:28:55.898" v="1524"/>
          <ac:spMkLst>
            <pc:docMk/>
            <pc:sldMk cId="1594532518" sldId="379"/>
            <ac:spMk id="6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744" v="1380"/>
          <ac:spMkLst>
            <pc:docMk/>
            <pc:sldMk cId="1594532518" sldId="379"/>
            <ac:spMk id="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757" v="1382"/>
          <ac:spMkLst>
            <pc:docMk/>
            <pc:sldMk cId="1594532518" sldId="379"/>
            <ac:spMk id="8" creationId="{00000000-0000-0000-0000-000000000000}"/>
          </ac:spMkLst>
        </pc:spChg>
        <pc:grpChg chg="mod">
          <ac:chgData name="Une Tangen" userId="ec6dd4d0-9964-4f1e-b96c-324c3d55b21c" providerId="ADAL" clId="{158F06E2-FB8C-40C1-BF92-BEB2BC840A85}" dt="2023-12-12T14:28:55.353" v="1444"/>
          <ac:grpSpMkLst>
            <pc:docMk/>
            <pc:sldMk cId="1594532518" sldId="379"/>
            <ac:grpSpMk id="4" creationId="{00000000-0000-0000-0000-000000000000}"/>
          </ac:grpSpMkLst>
        </pc:grpChg>
      </pc:sldChg>
      <pc:sldChg chg="del">
        <pc:chgData name="Une Tangen" userId="ec6dd4d0-9964-4f1e-b96c-324c3d55b21c" providerId="ADAL" clId="{158F06E2-FB8C-40C1-BF92-BEB2BC840A85}" dt="2023-12-11T20:55:04.605" v="265" actId="47"/>
        <pc:sldMkLst>
          <pc:docMk/>
          <pc:sldMk cId="3069747469" sldId="393"/>
        </pc:sldMkLst>
      </pc:sldChg>
      <pc:sldChg chg="del">
        <pc:chgData name="Une Tangen" userId="ec6dd4d0-9964-4f1e-b96c-324c3d55b21c" providerId="ADAL" clId="{158F06E2-FB8C-40C1-BF92-BEB2BC840A85}" dt="2023-12-11T20:55:02.642" v="264" actId="47"/>
        <pc:sldMkLst>
          <pc:docMk/>
          <pc:sldMk cId="2739237252" sldId="398"/>
        </pc:sldMkLst>
      </pc:sldChg>
      <pc:sldChg chg="delSp modSp mod">
        <pc:chgData name="Une Tangen" userId="ec6dd4d0-9964-4f1e-b96c-324c3d55b21c" providerId="ADAL" clId="{158F06E2-FB8C-40C1-BF92-BEB2BC840A85}" dt="2023-12-12T14:53:46.153" v="1699" actId="20577"/>
        <pc:sldMkLst>
          <pc:docMk/>
          <pc:sldMk cId="4127712217" sldId="404"/>
        </pc:sldMkLst>
        <pc:spChg chg="mod">
          <ac:chgData name="Une Tangen" userId="ec6dd4d0-9964-4f1e-b96c-324c3d55b21c" providerId="ADAL" clId="{158F06E2-FB8C-40C1-BF92-BEB2BC840A85}" dt="2023-12-12T14:53:46.153" v="1699" actId="20577"/>
          <ac:spMkLst>
            <pc:docMk/>
            <pc:sldMk cId="4127712217" sldId="404"/>
            <ac:spMk id="16" creationId="{00000000-0000-0000-0000-000000000000}"/>
          </ac:spMkLst>
        </pc:spChg>
        <pc:spChg chg="del mod">
          <ac:chgData name="Une Tangen" userId="ec6dd4d0-9964-4f1e-b96c-324c3d55b21c" providerId="ADAL" clId="{158F06E2-FB8C-40C1-BF92-BEB2BC840A85}" dt="2023-12-11T20:46:04.629" v="2" actId="478"/>
          <ac:spMkLst>
            <pc:docMk/>
            <pc:sldMk cId="4127712217" sldId="404"/>
            <ac:spMk id="1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1T20:46:13.572" v="3" actId="20577"/>
          <ac:spMkLst>
            <pc:docMk/>
            <pc:sldMk cId="4127712217" sldId="404"/>
            <ac:spMk id="19" creationId="{00000000-0000-0000-0000-000000000000}"/>
          </ac:spMkLst>
        </pc:spChg>
      </pc:sldChg>
      <pc:sldChg chg="del">
        <pc:chgData name="Une Tangen" userId="ec6dd4d0-9964-4f1e-b96c-324c3d55b21c" providerId="ADAL" clId="{158F06E2-FB8C-40C1-BF92-BEB2BC840A85}" dt="2023-12-11T20:54:51.079" v="258" actId="47"/>
        <pc:sldMkLst>
          <pc:docMk/>
          <pc:sldMk cId="4255708857" sldId="405"/>
        </pc:sldMkLst>
      </pc:sldChg>
      <pc:sldChg chg="modSp mod">
        <pc:chgData name="Une Tangen" userId="ec6dd4d0-9964-4f1e-b96c-324c3d55b21c" providerId="ADAL" clId="{158F06E2-FB8C-40C1-BF92-BEB2BC840A85}" dt="2023-12-12T14:55:01.916" v="1703" actId="20577"/>
        <pc:sldMkLst>
          <pc:docMk/>
          <pc:sldMk cId="840778778" sldId="409"/>
        </pc:sldMkLst>
        <pc:spChg chg="mod">
          <ac:chgData name="Une Tangen" userId="ec6dd4d0-9964-4f1e-b96c-324c3d55b21c" providerId="ADAL" clId="{158F06E2-FB8C-40C1-BF92-BEB2BC840A85}" dt="2023-12-11T20:47:41.348" v="21" actId="20577"/>
          <ac:spMkLst>
            <pc:docMk/>
            <pc:sldMk cId="840778778" sldId="409"/>
            <ac:spMk id="14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55:01.916" v="1703" actId="20577"/>
          <ac:spMkLst>
            <pc:docMk/>
            <pc:sldMk cId="840778778" sldId="409"/>
            <ac:spMk id="16" creationId="{00000000-0000-0000-0000-000000000000}"/>
          </ac:spMkLst>
        </pc:spChg>
        <pc:picChg chg="mod">
          <ac:chgData name="Une Tangen" userId="ec6dd4d0-9964-4f1e-b96c-324c3d55b21c" providerId="ADAL" clId="{158F06E2-FB8C-40C1-BF92-BEB2BC840A85}" dt="2023-12-12T14:28:54.307" v="1332"/>
          <ac:picMkLst>
            <pc:docMk/>
            <pc:sldMk cId="840778778" sldId="409"/>
            <ac:picMk id="2" creationId="{00000000-0000-0000-0000-000000000000}"/>
          </ac:picMkLst>
        </pc:picChg>
      </pc:sldChg>
      <pc:sldChg chg="modSp del mod">
        <pc:chgData name="Une Tangen" userId="ec6dd4d0-9964-4f1e-b96c-324c3d55b21c" providerId="ADAL" clId="{158F06E2-FB8C-40C1-BF92-BEB2BC840A85}" dt="2023-12-11T20:49:01.933" v="94" actId="47"/>
        <pc:sldMkLst>
          <pc:docMk/>
          <pc:sldMk cId="2075690250" sldId="410"/>
        </pc:sldMkLst>
        <pc:spChg chg="mod">
          <ac:chgData name="Une Tangen" userId="ec6dd4d0-9964-4f1e-b96c-324c3d55b21c" providerId="ADAL" clId="{158F06E2-FB8C-40C1-BF92-BEB2BC840A85}" dt="2023-12-11T20:48:51.150" v="93" actId="20577"/>
          <ac:spMkLst>
            <pc:docMk/>
            <pc:sldMk cId="2075690250" sldId="410"/>
            <ac:spMk id="14" creationId="{00000000-0000-0000-0000-000000000000}"/>
          </ac:spMkLst>
        </pc:spChg>
      </pc:sldChg>
      <pc:sldChg chg="del">
        <pc:chgData name="Une Tangen" userId="ec6dd4d0-9964-4f1e-b96c-324c3d55b21c" providerId="ADAL" clId="{158F06E2-FB8C-40C1-BF92-BEB2BC840A85}" dt="2023-12-11T20:47:11.293" v="6" actId="47"/>
        <pc:sldMkLst>
          <pc:docMk/>
          <pc:sldMk cId="461872694" sldId="411"/>
        </pc:sldMkLst>
      </pc:sldChg>
      <pc:sldChg chg="modSp mod">
        <pc:chgData name="Une Tangen" userId="ec6dd4d0-9964-4f1e-b96c-324c3d55b21c" providerId="ADAL" clId="{158F06E2-FB8C-40C1-BF92-BEB2BC840A85}" dt="2023-12-12T14:28:55.883" v="1522"/>
        <pc:sldMkLst>
          <pc:docMk/>
          <pc:sldMk cId="2320292773" sldId="412"/>
        </pc:sldMkLst>
        <pc:spChg chg="mod">
          <ac:chgData name="Une Tangen" userId="ec6dd4d0-9964-4f1e-b96c-324c3d55b21c" providerId="ADAL" clId="{158F06E2-FB8C-40C1-BF92-BEB2BC840A85}" dt="2023-12-12T14:28:54.664" v="1372"/>
          <ac:spMkLst>
            <pc:docMk/>
            <pc:sldMk cId="2320292773" sldId="412"/>
            <ac:spMk id="2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883" v="1522"/>
          <ac:spMkLst>
            <pc:docMk/>
            <pc:sldMk cId="2320292773" sldId="412"/>
            <ac:spMk id="2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608" v="1366"/>
          <ac:spMkLst>
            <pc:docMk/>
            <pc:sldMk cId="2320292773" sldId="412"/>
            <ac:spMk id="25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628" v="1368"/>
          <ac:spMkLst>
            <pc:docMk/>
            <pc:sldMk cId="2320292773" sldId="412"/>
            <ac:spMk id="26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646" v="1370"/>
          <ac:spMkLst>
            <pc:docMk/>
            <pc:sldMk cId="2320292773" sldId="412"/>
            <ac:spMk id="28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681" v="1374"/>
          <ac:spMkLst>
            <pc:docMk/>
            <pc:sldMk cId="2320292773" sldId="412"/>
            <ac:spMk id="3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699" v="1376"/>
          <ac:spMkLst>
            <pc:docMk/>
            <pc:sldMk cId="2320292773" sldId="412"/>
            <ac:spMk id="39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854" v="1518"/>
          <ac:spMkLst>
            <pc:docMk/>
            <pc:sldMk cId="2320292773" sldId="412"/>
            <ac:spMk id="70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869" v="1520"/>
          <ac:spMkLst>
            <pc:docMk/>
            <pc:sldMk cId="2320292773" sldId="412"/>
            <ac:spMk id="98" creationId="{00000000-0000-0000-0000-000000000000}"/>
          </ac:spMkLst>
        </pc:spChg>
        <pc:grpChg chg="mod">
          <ac:chgData name="Une Tangen" userId="ec6dd4d0-9964-4f1e-b96c-324c3d55b21c" providerId="ADAL" clId="{158F06E2-FB8C-40C1-BF92-BEB2BC840A85}" dt="2023-12-12T14:28:55.329" v="1440"/>
          <ac:grpSpMkLst>
            <pc:docMk/>
            <pc:sldMk cId="2320292773" sldId="412"/>
            <ac:grpSpMk id="4" creationId="{00000000-0000-0000-0000-000000000000}"/>
          </ac:grpSpMkLst>
        </pc:grpChg>
        <pc:grpChg chg="mod">
          <ac:chgData name="Une Tangen" userId="ec6dd4d0-9964-4f1e-b96c-324c3d55b21c" providerId="ADAL" clId="{158F06E2-FB8C-40C1-BF92-BEB2BC840A85}" dt="2023-12-12T14:28:55.340" v="1442"/>
          <ac:grpSpMkLst>
            <pc:docMk/>
            <pc:sldMk cId="2320292773" sldId="412"/>
            <ac:grpSpMk id="7" creationId="{00000000-0000-0000-0000-000000000000}"/>
          </ac:grpSpMkLst>
        </pc:grpChg>
        <pc:picChg chg="mod">
          <ac:chgData name="Une Tangen" userId="ec6dd4d0-9964-4f1e-b96c-324c3d55b21c" providerId="ADAL" clId="{158F06E2-FB8C-40C1-BF92-BEB2BC840A85}" dt="2023-12-12T14:28:54.968" v="1416"/>
          <ac:picMkLst>
            <pc:docMk/>
            <pc:sldMk cId="2320292773" sldId="412"/>
            <ac:picMk id="3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987" v="1418"/>
          <ac:picMkLst>
            <pc:docMk/>
            <pc:sldMk cId="2320292773" sldId="412"/>
            <ac:picMk id="21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4.723" v="1378"/>
          <ac:cxnSpMkLst>
            <pc:docMk/>
            <pc:sldMk cId="2320292773" sldId="412"/>
            <ac:cxnSpMk id="40" creationId="{00000000-0000-0000-0000-000000000000}"/>
          </ac:cxnSpMkLst>
        </pc:cxnChg>
      </pc:sldChg>
      <pc:sldChg chg="del">
        <pc:chgData name="Une Tangen" userId="ec6dd4d0-9964-4f1e-b96c-324c3d55b21c" providerId="ADAL" clId="{158F06E2-FB8C-40C1-BF92-BEB2BC840A85}" dt="2023-12-11T20:54:53.996" v="259" actId="47"/>
        <pc:sldMkLst>
          <pc:docMk/>
          <pc:sldMk cId="1283887491" sldId="413"/>
        </pc:sldMkLst>
      </pc:sldChg>
      <pc:sldChg chg="del">
        <pc:chgData name="Une Tangen" userId="ec6dd4d0-9964-4f1e-b96c-324c3d55b21c" providerId="ADAL" clId="{158F06E2-FB8C-40C1-BF92-BEB2BC840A85}" dt="2023-12-11T20:54:55.653" v="260" actId="47"/>
        <pc:sldMkLst>
          <pc:docMk/>
          <pc:sldMk cId="2024300138" sldId="415"/>
        </pc:sldMkLst>
      </pc:sldChg>
      <pc:sldChg chg="del">
        <pc:chgData name="Une Tangen" userId="ec6dd4d0-9964-4f1e-b96c-324c3d55b21c" providerId="ADAL" clId="{158F06E2-FB8C-40C1-BF92-BEB2BC840A85}" dt="2023-12-11T20:54:57.546" v="261" actId="47"/>
        <pc:sldMkLst>
          <pc:docMk/>
          <pc:sldMk cId="588403219" sldId="419"/>
        </pc:sldMkLst>
      </pc:sldChg>
      <pc:sldChg chg="del">
        <pc:chgData name="Une Tangen" userId="ec6dd4d0-9964-4f1e-b96c-324c3d55b21c" providerId="ADAL" clId="{158F06E2-FB8C-40C1-BF92-BEB2BC840A85}" dt="2023-12-11T20:54:58.963" v="262" actId="47"/>
        <pc:sldMkLst>
          <pc:docMk/>
          <pc:sldMk cId="853679380" sldId="421"/>
        </pc:sldMkLst>
      </pc:sldChg>
      <pc:sldChg chg="modSp mod">
        <pc:chgData name="Une Tangen" userId="ec6dd4d0-9964-4f1e-b96c-324c3d55b21c" providerId="ADAL" clId="{158F06E2-FB8C-40C1-BF92-BEB2BC840A85}" dt="2023-12-12T14:28:55.018" v="1424"/>
        <pc:sldMkLst>
          <pc:docMk/>
          <pc:sldMk cId="2138597072" sldId="423"/>
        </pc:sldMkLst>
        <pc:picChg chg="mod">
          <ac:chgData name="Une Tangen" userId="ec6dd4d0-9964-4f1e-b96c-324c3d55b21c" providerId="ADAL" clId="{158F06E2-FB8C-40C1-BF92-BEB2BC840A85}" dt="2023-12-12T14:28:55.018" v="1424"/>
          <ac:picMkLst>
            <pc:docMk/>
            <pc:sldMk cId="2138597072" sldId="423"/>
            <ac:picMk id="2" creationId="{00000000-0000-0000-0000-000000000000}"/>
          </ac:picMkLst>
        </pc:picChg>
      </pc:sldChg>
      <pc:sldChg chg="modSp mod">
        <pc:chgData name="Une Tangen" userId="ec6dd4d0-9964-4f1e-b96c-324c3d55b21c" providerId="ADAL" clId="{158F06E2-FB8C-40C1-BF92-BEB2BC840A85}" dt="2023-12-12T14:28:55.953" v="1534"/>
        <pc:sldMkLst>
          <pc:docMk/>
          <pc:sldMk cId="452773224" sldId="424"/>
        </pc:sldMkLst>
        <pc:spChg chg="mod">
          <ac:chgData name="Une Tangen" userId="ec6dd4d0-9964-4f1e-b96c-324c3d55b21c" providerId="ADAL" clId="{158F06E2-FB8C-40C1-BF92-BEB2BC840A85}" dt="2023-12-12T14:28:54.771" v="1384"/>
          <ac:spMkLst>
            <pc:docMk/>
            <pc:sldMk cId="452773224" sldId="424"/>
            <ac:spMk id="4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953" v="1534"/>
          <ac:spMkLst>
            <pc:docMk/>
            <pc:sldMk cId="452773224" sldId="424"/>
            <ac:spMk id="25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379" v="1448"/>
          <ac:spMkLst>
            <pc:docMk/>
            <pc:sldMk cId="452773224" sldId="424"/>
            <ac:spMk id="4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953" v="1532"/>
          <ac:spMkLst>
            <pc:docMk/>
            <pc:sldMk cId="452773224" sldId="424"/>
            <ac:spMk id="61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912" v="1526"/>
          <ac:spMkLst>
            <pc:docMk/>
            <pc:sldMk cId="452773224" sldId="424"/>
            <ac:spMk id="69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925" v="1528"/>
          <ac:spMkLst>
            <pc:docMk/>
            <pc:sldMk cId="452773224" sldId="424"/>
            <ac:spMk id="71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937" v="1530"/>
          <ac:spMkLst>
            <pc:docMk/>
            <pc:sldMk cId="452773224" sldId="424"/>
            <ac:spMk id="74" creationId="{00000000-0000-0000-0000-000000000000}"/>
          </ac:spMkLst>
        </pc:spChg>
        <pc:grpChg chg="mod">
          <ac:chgData name="Une Tangen" userId="ec6dd4d0-9964-4f1e-b96c-324c3d55b21c" providerId="ADAL" clId="{158F06E2-FB8C-40C1-BF92-BEB2BC840A85}" dt="2023-12-12T14:28:55.427" v="1456"/>
          <ac:grpSpMkLst>
            <pc:docMk/>
            <pc:sldMk cId="452773224" sldId="424"/>
            <ac:grpSpMk id="5" creationId="{00000000-0000-0000-0000-000000000000}"/>
          </ac:grpSpMkLst>
        </pc:grpChg>
        <pc:graphicFrameChg chg="mod">
          <ac:chgData name="Une Tangen" userId="ec6dd4d0-9964-4f1e-b96c-324c3d55b21c" providerId="ADAL" clId="{158F06E2-FB8C-40C1-BF92-BEB2BC840A85}" dt="2023-12-12T14:28:55.365" v="1446"/>
          <ac:graphicFrameMkLst>
            <pc:docMk/>
            <pc:sldMk cId="452773224" sldId="424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58F06E2-FB8C-40C1-BF92-BEB2BC840A85}" dt="2023-12-12T14:28:55.033" v="1426"/>
          <ac:picMkLst>
            <pc:docMk/>
            <pc:sldMk cId="452773224" sldId="424"/>
            <ac:picMk id="3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5.383" v="1450"/>
          <ac:cxnSpMkLst>
            <pc:docMk/>
            <pc:sldMk cId="452773224" sldId="424"/>
            <ac:cxnSpMk id="53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400" v="1452"/>
          <ac:cxnSpMkLst>
            <pc:docMk/>
            <pc:sldMk cId="452773224" sldId="424"/>
            <ac:cxnSpMk id="58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417" v="1454"/>
          <ac:cxnSpMkLst>
            <pc:docMk/>
            <pc:sldMk cId="452773224" sldId="424"/>
            <ac:cxnSpMk id="72" creationId="{00000000-0000-0000-0000-000000000000}"/>
          </ac:cxnSpMkLst>
        </pc:cxnChg>
      </pc:sldChg>
      <pc:sldChg chg="modSp mod">
        <pc:chgData name="Une Tangen" userId="ec6dd4d0-9964-4f1e-b96c-324c3d55b21c" providerId="ADAL" clId="{158F06E2-FB8C-40C1-BF92-BEB2BC840A85}" dt="2023-12-12T14:28:56.128" v="1554"/>
        <pc:sldMkLst>
          <pc:docMk/>
          <pc:sldMk cId="4098087875" sldId="425"/>
        </pc:sldMkLst>
        <pc:spChg chg="mod">
          <ac:chgData name="Une Tangen" userId="ec6dd4d0-9964-4f1e-b96c-324c3d55b21c" providerId="ADAL" clId="{158F06E2-FB8C-40C1-BF92-BEB2BC840A85}" dt="2023-12-12T14:28:56.071" v="1548"/>
          <ac:spMkLst>
            <pc:docMk/>
            <pc:sldMk cId="4098087875" sldId="425"/>
            <ac:spMk id="3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783" v="1386"/>
          <ac:spMkLst>
            <pc:docMk/>
            <pc:sldMk cId="4098087875" sldId="425"/>
            <ac:spMk id="34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086" v="1550"/>
          <ac:spMkLst>
            <pc:docMk/>
            <pc:sldMk cId="4098087875" sldId="425"/>
            <ac:spMk id="40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104" v="1552"/>
          <ac:spMkLst>
            <pc:docMk/>
            <pc:sldMk cId="4098087875" sldId="425"/>
            <ac:spMk id="41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128" v="1554"/>
          <ac:spMkLst>
            <pc:docMk/>
            <pc:sldMk cId="4098087875" sldId="425"/>
            <ac:spMk id="4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444" v="1460"/>
          <ac:spMkLst>
            <pc:docMk/>
            <pc:sldMk cId="4098087875" sldId="425"/>
            <ac:spMk id="4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979" v="1536"/>
          <ac:spMkLst>
            <pc:docMk/>
            <pc:sldMk cId="4098087875" sldId="425"/>
            <ac:spMk id="6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002" v="1538"/>
          <ac:spMkLst>
            <pc:docMk/>
            <pc:sldMk cId="4098087875" sldId="425"/>
            <ac:spMk id="66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015" v="1540"/>
          <ac:spMkLst>
            <pc:docMk/>
            <pc:sldMk cId="4098087875" sldId="425"/>
            <ac:spMk id="6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026" v="1542"/>
          <ac:spMkLst>
            <pc:docMk/>
            <pc:sldMk cId="4098087875" sldId="425"/>
            <ac:spMk id="68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041" v="1544"/>
          <ac:spMkLst>
            <pc:docMk/>
            <pc:sldMk cId="4098087875" sldId="425"/>
            <ac:spMk id="70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055" v="1546"/>
          <ac:spMkLst>
            <pc:docMk/>
            <pc:sldMk cId="4098087875" sldId="425"/>
            <ac:spMk id="74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505" v="1468"/>
          <ac:spMkLst>
            <pc:docMk/>
            <pc:sldMk cId="4098087875" sldId="425"/>
            <ac:spMk id="75" creationId="{00000000-0000-0000-0000-000000000000}"/>
          </ac:spMkLst>
        </pc:spChg>
        <pc:grpChg chg="mod">
          <ac:chgData name="Une Tangen" userId="ec6dd4d0-9964-4f1e-b96c-324c3d55b21c" providerId="ADAL" clId="{158F06E2-FB8C-40C1-BF92-BEB2BC840A85}" dt="2023-12-12T14:28:55.510" v="1470"/>
          <ac:grpSpMkLst>
            <pc:docMk/>
            <pc:sldMk cId="4098087875" sldId="425"/>
            <ac:grpSpMk id="30" creationId="{00000000-0000-0000-0000-000000000000}"/>
          </ac:grpSpMkLst>
        </pc:grpChg>
        <pc:graphicFrameChg chg="mod">
          <ac:chgData name="Une Tangen" userId="ec6dd4d0-9964-4f1e-b96c-324c3d55b21c" providerId="ADAL" clId="{158F06E2-FB8C-40C1-BF92-BEB2BC840A85}" dt="2023-12-12T14:28:55.444" v="1458"/>
          <ac:graphicFrameMkLst>
            <pc:docMk/>
            <pc:sldMk cId="4098087875" sldId="425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58F06E2-FB8C-40C1-BF92-BEB2BC840A85}" dt="2023-12-12T14:28:55.048" v="1428"/>
          <ac:picMkLst>
            <pc:docMk/>
            <pc:sldMk cId="4098087875" sldId="425"/>
            <ac:picMk id="36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355" v="1338"/>
          <ac:picMkLst>
            <pc:docMk/>
            <pc:sldMk cId="4098087875" sldId="425"/>
            <ac:picMk id="64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5.528" v="1472"/>
          <ac:cxnSpMkLst>
            <pc:docMk/>
            <pc:sldMk cId="4098087875" sldId="425"/>
            <ac:cxnSpMk id="42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459" v="1462"/>
          <ac:cxnSpMkLst>
            <pc:docMk/>
            <pc:sldMk cId="4098087875" sldId="425"/>
            <ac:cxnSpMk id="51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475" v="1464"/>
          <ac:cxnSpMkLst>
            <pc:docMk/>
            <pc:sldMk cId="4098087875" sldId="425"/>
            <ac:cxnSpMk id="53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490" v="1466"/>
          <ac:cxnSpMkLst>
            <pc:docMk/>
            <pc:sldMk cId="4098087875" sldId="425"/>
            <ac:cxnSpMk id="58" creationId="{00000000-0000-0000-0000-000000000000}"/>
          </ac:cxnSpMkLst>
        </pc:cxnChg>
      </pc:sldChg>
      <pc:sldChg chg="modSp mod">
        <pc:chgData name="Une Tangen" userId="ec6dd4d0-9964-4f1e-b96c-324c3d55b21c" providerId="ADAL" clId="{158F06E2-FB8C-40C1-BF92-BEB2BC840A85}" dt="2023-12-12T14:28:56.185" v="1562"/>
        <pc:sldMkLst>
          <pc:docMk/>
          <pc:sldMk cId="214008158" sldId="426"/>
        </pc:sldMkLst>
        <pc:spChg chg="mod">
          <ac:chgData name="Une Tangen" userId="ec6dd4d0-9964-4f1e-b96c-324c3d55b21c" providerId="ADAL" clId="{158F06E2-FB8C-40C1-BF92-BEB2BC840A85}" dt="2023-12-12T14:28:56.150" v="1558"/>
          <ac:spMkLst>
            <pc:docMk/>
            <pc:sldMk cId="214008158" sldId="426"/>
            <ac:spMk id="2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171" v="1560"/>
          <ac:spMkLst>
            <pc:docMk/>
            <pc:sldMk cId="214008158" sldId="426"/>
            <ac:spMk id="30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140" v="1556"/>
          <ac:spMkLst>
            <pc:docMk/>
            <pc:sldMk cId="214008158" sldId="426"/>
            <ac:spMk id="32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185" v="1562"/>
          <ac:spMkLst>
            <pc:docMk/>
            <pc:sldMk cId="214008158" sldId="426"/>
            <ac:spMk id="3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551" v="1476"/>
          <ac:spMkLst>
            <pc:docMk/>
            <pc:sldMk cId="214008158" sldId="426"/>
            <ac:spMk id="47" creationId="{00000000-0000-0000-0000-000000000000}"/>
          </ac:spMkLst>
        </pc:spChg>
        <pc:graphicFrameChg chg="mod">
          <ac:chgData name="Une Tangen" userId="ec6dd4d0-9964-4f1e-b96c-324c3d55b21c" providerId="ADAL" clId="{158F06E2-FB8C-40C1-BF92-BEB2BC840A85}" dt="2023-12-12T14:28:55.538" v="1474"/>
          <ac:graphicFrameMkLst>
            <pc:docMk/>
            <pc:sldMk cId="214008158" sldId="426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58F06E2-FB8C-40C1-BF92-BEB2BC840A85}" dt="2023-12-12T14:28:55.063" v="1430"/>
          <ac:picMkLst>
            <pc:docMk/>
            <pc:sldMk cId="214008158" sldId="426"/>
            <ac:picMk id="15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5.571" v="1480"/>
          <ac:cxnSpMkLst>
            <pc:docMk/>
            <pc:sldMk cId="214008158" sldId="426"/>
            <ac:cxnSpMk id="34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555" v="1478"/>
          <ac:cxnSpMkLst>
            <pc:docMk/>
            <pc:sldMk cId="214008158" sldId="426"/>
            <ac:cxnSpMk id="51" creationId="{00000000-0000-0000-0000-000000000000}"/>
          </ac:cxnSpMkLst>
        </pc:cxnChg>
      </pc:sldChg>
      <pc:sldChg chg="modSp mod">
        <pc:chgData name="Une Tangen" userId="ec6dd4d0-9964-4f1e-b96c-324c3d55b21c" providerId="ADAL" clId="{158F06E2-FB8C-40C1-BF92-BEB2BC840A85}" dt="2023-12-12T14:28:56.198" v="1564"/>
        <pc:sldMkLst>
          <pc:docMk/>
          <pc:sldMk cId="2970037460" sldId="427"/>
        </pc:sldMkLst>
        <pc:spChg chg="mod">
          <ac:chgData name="Une Tangen" userId="ec6dd4d0-9964-4f1e-b96c-324c3d55b21c" providerId="ADAL" clId="{158F06E2-FB8C-40C1-BF92-BEB2BC840A85}" dt="2023-12-12T14:28:54.823" v="1392"/>
          <ac:spMkLst>
            <pc:docMk/>
            <pc:sldMk cId="2970037460" sldId="427"/>
            <ac:spMk id="2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841" v="1394"/>
          <ac:spMkLst>
            <pc:docMk/>
            <pc:sldMk cId="2970037460" sldId="427"/>
            <ac:spMk id="24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853" v="1396"/>
          <ac:spMkLst>
            <pc:docMk/>
            <pc:sldMk cId="2970037460" sldId="427"/>
            <ac:spMk id="25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866" v="1398"/>
          <ac:spMkLst>
            <pc:docMk/>
            <pc:sldMk cId="2970037460" sldId="427"/>
            <ac:spMk id="26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198" v="1564"/>
          <ac:spMkLst>
            <pc:docMk/>
            <pc:sldMk cId="2970037460" sldId="427"/>
            <ac:spMk id="32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585" v="1484"/>
          <ac:spMkLst>
            <pc:docMk/>
            <pc:sldMk cId="2970037460" sldId="427"/>
            <ac:spMk id="47" creationId="{00000000-0000-0000-0000-000000000000}"/>
          </ac:spMkLst>
        </pc:spChg>
        <pc:grpChg chg="mod">
          <ac:chgData name="Une Tangen" userId="ec6dd4d0-9964-4f1e-b96c-324c3d55b21c" providerId="ADAL" clId="{158F06E2-FB8C-40C1-BF92-BEB2BC840A85}" dt="2023-12-12T14:28:55.601" v="1486"/>
          <ac:grpSpMkLst>
            <pc:docMk/>
            <pc:sldMk cId="2970037460" sldId="427"/>
            <ac:grpSpMk id="19" creationId="{00000000-0000-0000-0000-000000000000}"/>
          </ac:grpSpMkLst>
        </pc:grpChg>
        <pc:graphicFrameChg chg="mod">
          <ac:chgData name="Une Tangen" userId="ec6dd4d0-9964-4f1e-b96c-324c3d55b21c" providerId="ADAL" clId="{158F06E2-FB8C-40C1-BF92-BEB2BC840A85}" dt="2023-12-12T14:28:55.582" v="1482"/>
          <ac:graphicFrameMkLst>
            <pc:docMk/>
            <pc:sldMk cId="2970037460" sldId="427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58F06E2-FB8C-40C1-BF92-BEB2BC840A85}" dt="2023-12-12T14:28:54.368" v="1340"/>
          <ac:picMkLst>
            <pc:docMk/>
            <pc:sldMk cId="2970037460" sldId="427"/>
            <ac:picMk id="27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386" v="1342"/>
          <ac:picMkLst>
            <pc:docMk/>
            <pc:sldMk cId="2970037460" sldId="427"/>
            <ac:picMk id="30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405" v="1344"/>
          <ac:picMkLst>
            <pc:docMk/>
            <pc:sldMk cId="2970037460" sldId="427"/>
            <ac:picMk id="33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422" v="1346"/>
          <ac:picMkLst>
            <pc:docMk/>
            <pc:sldMk cId="2970037460" sldId="427"/>
            <ac:picMk id="34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5.063" v="1432"/>
          <ac:picMkLst>
            <pc:docMk/>
            <pc:sldMk cId="2970037460" sldId="427"/>
            <ac:picMk id="36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4.794" v="1388"/>
          <ac:cxnSpMkLst>
            <pc:docMk/>
            <pc:sldMk cId="2970037460" sldId="427"/>
            <ac:cxnSpMk id="20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4.809" v="1390"/>
          <ac:cxnSpMkLst>
            <pc:docMk/>
            <pc:sldMk cId="2970037460" sldId="427"/>
            <ac:cxnSpMk id="21" creationId="{00000000-0000-0000-0000-000000000000}"/>
          </ac:cxnSpMkLst>
        </pc:cxnChg>
      </pc:sldChg>
      <pc:sldChg chg="modSp mod">
        <pc:chgData name="Une Tangen" userId="ec6dd4d0-9964-4f1e-b96c-324c3d55b21c" providerId="ADAL" clId="{158F06E2-FB8C-40C1-BF92-BEB2BC840A85}" dt="2023-12-12T14:28:54.459" v="1350"/>
        <pc:sldMkLst>
          <pc:docMk/>
          <pc:sldMk cId="549081085" sldId="428"/>
        </pc:sldMkLst>
        <pc:picChg chg="mod">
          <ac:chgData name="Une Tangen" userId="ec6dd4d0-9964-4f1e-b96c-324c3d55b21c" providerId="ADAL" clId="{158F06E2-FB8C-40C1-BF92-BEB2BC840A85}" dt="2023-12-12T14:28:54.442" v="1348"/>
          <ac:picMkLst>
            <pc:docMk/>
            <pc:sldMk cId="549081085" sldId="428"/>
            <ac:picMk id="16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459" v="1350"/>
          <ac:picMkLst>
            <pc:docMk/>
            <pc:sldMk cId="549081085" sldId="428"/>
            <ac:picMk id="17" creationId="{00000000-0000-0000-0000-000000000000}"/>
          </ac:picMkLst>
        </pc:picChg>
      </pc:sldChg>
      <pc:sldChg chg="modSp mod">
        <pc:chgData name="Une Tangen" userId="ec6dd4d0-9964-4f1e-b96c-324c3d55b21c" providerId="ADAL" clId="{158F06E2-FB8C-40C1-BF92-BEB2BC840A85}" dt="2023-12-12T14:28:54.495" v="1354"/>
        <pc:sldMkLst>
          <pc:docMk/>
          <pc:sldMk cId="4186997698" sldId="429"/>
        </pc:sldMkLst>
        <pc:picChg chg="mod">
          <ac:chgData name="Une Tangen" userId="ec6dd4d0-9964-4f1e-b96c-324c3d55b21c" providerId="ADAL" clId="{158F06E2-FB8C-40C1-BF92-BEB2BC840A85}" dt="2023-12-12T14:28:54.463" v="1352"/>
          <ac:picMkLst>
            <pc:docMk/>
            <pc:sldMk cId="4186997698" sldId="429"/>
            <ac:picMk id="6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495" v="1354"/>
          <ac:picMkLst>
            <pc:docMk/>
            <pc:sldMk cId="4186997698" sldId="429"/>
            <ac:picMk id="7" creationId="{00000000-0000-0000-0000-000000000000}"/>
          </ac:picMkLst>
        </pc:picChg>
      </pc:sldChg>
      <pc:sldChg chg="modSp mod">
        <pc:chgData name="Une Tangen" userId="ec6dd4d0-9964-4f1e-b96c-324c3d55b21c" providerId="ADAL" clId="{158F06E2-FB8C-40C1-BF92-BEB2BC840A85}" dt="2023-12-12T14:28:56.272" v="1574"/>
        <pc:sldMkLst>
          <pc:docMk/>
          <pc:sldMk cId="1025118303" sldId="430"/>
        </pc:sldMkLst>
        <pc:spChg chg="mod">
          <ac:chgData name="Une Tangen" userId="ec6dd4d0-9964-4f1e-b96c-324c3d55b21c" providerId="ADAL" clId="{158F06E2-FB8C-40C1-BF92-BEB2BC840A85}" dt="2023-12-12T14:28:56.239" v="1570"/>
          <ac:spMkLst>
            <pc:docMk/>
            <pc:sldMk cId="1025118303" sldId="430"/>
            <ac:spMk id="16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258" v="1572"/>
          <ac:spMkLst>
            <pc:docMk/>
            <pc:sldMk cId="1025118303" sldId="430"/>
            <ac:spMk id="1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272" v="1574"/>
          <ac:spMkLst>
            <pc:docMk/>
            <pc:sldMk cId="1025118303" sldId="430"/>
            <ac:spMk id="20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634" v="1490"/>
          <ac:spMkLst>
            <pc:docMk/>
            <pc:sldMk cId="1025118303" sldId="430"/>
            <ac:spMk id="4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212" v="1566"/>
          <ac:spMkLst>
            <pc:docMk/>
            <pc:sldMk cId="1025118303" sldId="430"/>
            <ac:spMk id="69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212" v="1568"/>
          <ac:spMkLst>
            <pc:docMk/>
            <pc:sldMk cId="1025118303" sldId="430"/>
            <ac:spMk id="71" creationId="{00000000-0000-0000-0000-000000000000}"/>
          </ac:spMkLst>
        </pc:spChg>
        <pc:graphicFrameChg chg="mod">
          <ac:chgData name="Une Tangen" userId="ec6dd4d0-9964-4f1e-b96c-324c3d55b21c" providerId="ADAL" clId="{158F06E2-FB8C-40C1-BF92-BEB2BC840A85}" dt="2023-12-12T14:28:55.622" v="1488"/>
          <ac:graphicFrameMkLst>
            <pc:docMk/>
            <pc:sldMk cId="1025118303" sldId="430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58F06E2-FB8C-40C1-BF92-BEB2BC840A85}" dt="2023-12-12T14:28:55.084" v="1434"/>
          <ac:picMkLst>
            <pc:docMk/>
            <pc:sldMk cId="1025118303" sldId="430"/>
            <ac:picMk id="3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5.634" v="1492"/>
          <ac:cxnSpMkLst>
            <pc:docMk/>
            <pc:sldMk cId="1025118303" sldId="430"/>
            <ac:cxnSpMk id="53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650" v="1494"/>
          <ac:cxnSpMkLst>
            <pc:docMk/>
            <pc:sldMk cId="1025118303" sldId="430"/>
            <ac:cxnSpMk id="58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666" v="1496"/>
          <ac:cxnSpMkLst>
            <pc:docMk/>
            <pc:sldMk cId="1025118303" sldId="430"/>
            <ac:cxnSpMk id="72" creationId="{00000000-0000-0000-0000-000000000000}"/>
          </ac:cxnSpMkLst>
        </pc:cxnChg>
      </pc:sldChg>
      <pc:sldChg chg="modSp mod">
        <pc:chgData name="Une Tangen" userId="ec6dd4d0-9964-4f1e-b96c-324c3d55b21c" providerId="ADAL" clId="{158F06E2-FB8C-40C1-BF92-BEB2BC840A85}" dt="2023-12-12T14:28:56.387" v="1594"/>
        <pc:sldMkLst>
          <pc:docMk/>
          <pc:sldMk cId="751251738" sldId="431"/>
        </pc:sldMkLst>
        <pc:spChg chg="mod">
          <ac:chgData name="Une Tangen" userId="ec6dd4d0-9964-4f1e-b96c-324c3d55b21c" providerId="ADAL" clId="{158F06E2-FB8C-40C1-BF92-BEB2BC840A85}" dt="2023-12-12T14:28:56.371" v="1590"/>
          <ac:spMkLst>
            <pc:docMk/>
            <pc:sldMk cId="751251738" sldId="431"/>
            <ac:spMk id="29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384" v="1592"/>
          <ac:spMkLst>
            <pc:docMk/>
            <pc:sldMk cId="751251738" sldId="431"/>
            <ac:spMk id="31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387" v="1594"/>
          <ac:spMkLst>
            <pc:docMk/>
            <pc:sldMk cId="751251738" sldId="431"/>
            <ac:spMk id="32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704" v="1500"/>
          <ac:spMkLst>
            <pc:docMk/>
            <pc:sldMk cId="751251738" sldId="431"/>
            <ac:spMk id="4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284" v="1576"/>
          <ac:spMkLst>
            <pc:docMk/>
            <pc:sldMk cId="751251738" sldId="431"/>
            <ac:spMk id="6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292" v="1578"/>
          <ac:spMkLst>
            <pc:docMk/>
            <pc:sldMk cId="751251738" sldId="431"/>
            <ac:spMk id="66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307" v="1580"/>
          <ac:spMkLst>
            <pc:docMk/>
            <pc:sldMk cId="751251738" sldId="431"/>
            <ac:spMk id="67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310" v="1582"/>
          <ac:spMkLst>
            <pc:docMk/>
            <pc:sldMk cId="751251738" sldId="431"/>
            <ac:spMk id="68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325" v="1584"/>
          <ac:spMkLst>
            <pc:docMk/>
            <pc:sldMk cId="751251738" sldId="431"/>
            <ac:spMk id="69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346" v="1586"/>
          <ac:spMkLst>
            <pc:docMk/>
            <pc:sldMk cId="751251738" sldId="431"/>
            <ac:spMk id="70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356" v="1588"/>
          <ac:spMkLst>
            <pc:docMk/>
            <pc:sldMk cId="751251738" sldId="431"/>
            <ac:spMk id="71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800" v="1510"/>
          <ac:spMkLst>
            <pc:docMk/>
            <pc:sldMk cId="751251738" sldId="431"/>
            <ac:spMk id="75" creationId="{00000000-0000-0000-0000-000000000000}"/>
          </ac:spMkLst>
        </pc:spChg>
        <pc:graphicFrameChg chg="mod">
          <ac:chgData name="Une Tangen" userId="ec6dd4d0-9964-4f1e-b96c-324c3d55b21c" providerId="ADAL" clId="{158F06E2-FB8C-40C1-BF92-BEB2BC840A85}" dt="2023-12-12T14:28:55.685" v="1498"/>
          <ac:graphicFrameMkLst>
            <pc:docMk/>
            <pc:sldMk cId="751251738" sldId="431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58F06E2-FB8C-40C1-BF92-BEB2BC840A85}" dt="2023-12-12T14:28:55.102" v="1436"/>
          <ac:picMkLst>
            <pc:docMk/>
            <pc:sldMk cId="751251738" sldId="431"/>
            <ac:picMk id="36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511" v="1356"/>
          <ac:picMkLst>
            <pc:docMk/>
            <pc:sldMk cId="751251738" sldId="431"/>
            <ac:picMk id="64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5.715" v="1502"/>
          <ac:cxnSpMkLst>
            <pc:docMk/>
            <pc:sldMk cId="751251738" sldId="431"/>
            <ac:cxnSpMk id="51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733" v="1504"/>
          <ac:cxnSpMkLst>
            <pc:docMk/>
            <pc:sldMk cId="751251738" sldId="431"/>
            <ac:cxnSpMk id="53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747" v="1506"/>
          <ac:cxnSpMkLst>
            <pc:docMk/>
            <pc:sldMk cId="751251738" sldId="431"/>
            <ac:cxnSpMk id="58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5.787" v="1508"/>
          <ac:cxnSpMkLst>
            <pc:docMk/>
            <pc:sldMk cId="751251738" sldId="431"/>
            <ac:cxnSpMk id="72" creationId="{00000000-0000-0000-0000-000000000000}"/>
          </ac:cxnSpMkLst>
        </pc:cxnChg>
      </pc:sldChg>
      <pc:sldChg chg="modSp mod">
        <pc:chgData name="Une Tangen" userId="ec6dd4d0-9964-4f1e-b96c-324c3d55b21c" providerId="ADAL" clId="{158F06E2-FB8C-40C1-BF92-BEB2BC840A85}" dt="2023-12-12T14:28:56.402" v="1596"/>
        <pc:sldMkLst>
          <pc:docMk/>
          <pc:sldMk cId="1016594500" sldId="433"/>
        </pc:sldMkLst>
        <pc:spChg chg="mod">
          <ac:chgData name="Une Tangen" userId="ec6dd4d0-9964-4f1e-b96c-324c3d55b21c" providerId="ADAL" clId="{158F06E2-FB8C-40C1-BF92-BEB2BC840A85}" dt="2023-12-12T14:28:54.902" v="1404"/>
          <ac:spMkLst>
            <pc:docMk/>
            <pc:sldMk cId="1016594500" sldId="433"/>
            <ac:spMk id="23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909" v="1406"/>
          <ac:spMkLst>
            <pc:docMk/>
            <pc:sldMk cId="1016594500" sldId="433"/>
            <ac:spMk id="24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921" v="1408"/>
          <ac:spMkLst>
            <pc:docMk/>
            <pc:sldMk cId="1016594500" sldId="433"/>
            <ac:spMk id="25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4.936" v="1410"/>
          <ac:spMkLst>
            <pc:docMk/>
            <pc:sldMk cId="1016594500" sldId="433"/>
            <ac:spMk id="26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6.402" v="1596"/>
          <ac:spMkLst>
            <pc:docMk/>
            <pc:sldMk cId="1016594500" sldId="433"/>
            <ac:spMk id="32" creationId="{00000000-0000-0000-0000-000000000000}"/>
          </ac:spMkLst>
        </pc:spChg>
        <pc:spChg chg="mod">
          <ac:chgData name="Une Tangen" userId="ec6dd4d0-9964-4f1e-b96c-324c3d55b21c" providerId="ADAL" clId="{158F06E2-FB8C-40C1-BF92-BEB2BC840A85}" dt="2023-12-12T14:28:55.826" v="1514"/>
          <ac:spMkLst>
            <pc:docMk/>
            <pc:sldMk cId="1016594500" sldId="433"/>
            <ac:spMk id="47" creationId="{00000000-0000-0000-0000-000000000000}"/>
          </ac:spMkLst>
        </pc:spChg>
        <pc:grpChg chg="mod">
          <ac:chgData name="Une Tangen" userId="ec6dd4d0-9964-4f1e-b96c-324c3d55b21c" providerId="ADAL" clId="{158F06E2-FB8C-40C1-BF92-BEB2BC840A85}" dt="2023-12-12T14:28:55.841" v="1516"/>
          <ac:grpSpMkLst>
            <pc:docMk/>
            <pc:sldMk cId="1016594500" sldId="433"/>
            <ac:grpSpMk id="19" creationId="{00000000-0000-0000-0000-000000000000}"/>
          </ac:grpSpMkLst>
        </pc:grpChg>
        <pc:graphicFrameChg chg="mod">
          <ac:chgData name="Une Tangen" userId="ec6dd4d0-9964-4f1e-b96c-324c3d55b21c" providerId="ADAL" clId="{158F06E2-FB8C-40C1-BF92-BEB2BC840A85}" dt="2023-12-12T14:28:55.814" v="1512"/>
          <ac:graphicFrameMkLst>
            <pc:docMk/>
            <pc:sldMk cId="1016594500" sldId="433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58F06E2-FB8C-40C1-BF92-BEB2BC840A85}" dt="2023-12-12T14:28:54.527" v="1358"/>
          <ac:picMkLst>
            <pc:docMk/>
            <pc:sldMk cId="1016594500" sldId="433"/>
            <ac:picMk id="27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549" v="1360"/>
          <ac:picMkLst>
            <pc:docMk/>
            <pc:sldMk cId="1016594500" sldId="433"/>
            <ac:picMk id="30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568" v="1362"/>
          <ac:picMkLst>
            <pc:docMk/>
            <pc:sldMk cId="1016594500" sldId="433"/>
            <ac:picMk id="33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4.587" v="1364"/>
          <ac:picMkLst>
            <pc:docMk/>
            <pc:sldMk cId="1016594500" sldId="433"/>
            <ac:picMk id="34" creationId="{00000000-0000-0000-0000-000000000000}"/>
          </ac:picMkLst>
        </pc:picChg>
        <pc:picChg chg="mod">
          <ac:chgData name="Une Tangen" userId="ec6dd4d0-9964-4f1e-b96c-324c3d55b21c" providerId="ADAL" clId="{158F06E2-FB8C-40C1-BF92-BEB2BC840A85}" dt="2023-12-12T14:28:55.115" v="1438"/>
          <ac:picMkLst>
            <pc:docMk/>
            <pc:sldMk cId="1016594500" sldId="433"/>
            <ac:picMk id="36" creationId="{00000000-0000-0000-0000-000000000000}"/>
          </ac:picMkLst>
        </pc:picChg>
        <pc:cxnChg chg="mod">
          <ac:chgData name="Une Tangen" userId="ec6dd4d0-9964-4f1e-b96c-324c3d55b21c" providerId="ADAL" clId="{158F06E2-FB8C-40C1-BF92-BEB2BC840A85}" dt="2023-12-12T14:28:54.876" v="1400"/>
          <ac:cxnSpMkLst>
            <pc:docMk/>
            <pc:sldMk cId="1016594500" sldId="433"/>
            <ac:cxnSpMk id="20" creationId="{00000000-0000-0000-0000-000000000000}"/>
          </ac:cxnSpMkLst>
        </pc:cxnChg>
        <pc:cxnChg chg="mod">
          <ac:chgData name="Une Tangen" userId="ec6dd4d0-9964-4f1e-b96c-324c3d55b21c" providerId="ADAL" clId="{158F06E2-FB8C-40C1-BF92-BEB2BC840A85}" dt="2023-12-12T14:28:54.890" v="1402"/>
          <ac:cxnSpMkLst>
            <pc:docMk/>
            <pc:sldMk cId="1016594500" sldId="433"/>
            <ac:cxnSpMk id="21" creationId="{00000000-0000-0000-0000-000000000000}"/>
          </ac:cxnSpMkLst>
        </pc:cxnChg>
      </pc:sldChg>
      <pc:sldChg chg="del">
        <pc:chgData name="Une Tangen" userId="ec6dd4d0-9964-4f1e-b96c-324c3d55b21c" providerId="ADAL" clId="{158F06E2-FB8C-40C1-BF92-BEB2BC840A85}" dt="2023-12-12T14:56:32.829" v="1704" actId="47"/>
        <pc:sldMkLst>
          <pc:docMk/>
          <pc:sldMk cId="2495188183" sldId="434"/>
        </pc:sldMkLst>
      </pc:sldChg>
      <pc:sldChg chg="del">
        <pc:chgData name="Une Tangen" userId="ec6dd4d0-9964-4f1e-b96c-324c3d55b21c" providerId="ADAL" clId="{158F06E2-FB8C-40C1-BF92-BEB2BC840A85}" dt="2023-12-11T20:55:01.297" v="263" actId="47"/>
        <pc:sldMkLst>
          <pc:docMk/>
          <pc:sldMk cId="2824983683" sldId="435"/>
        </pc:sldMkLst>
      </pc:sldChg>
      <pc:sldMasterChg chg="delSldLayout">
        <pc:chgData name="Une Tangen" userId="ec6dd4d0-9964-4f1e-b96c-324c3d55b21c" providerId="ADAL" clId="{158F06E2-FB8C-40C1-BF92-BEB2BC840A85}" dt="2023-12-11T20:54:51.079" v="258" actId="47"/>
        <pc:sldMasterMkLst>
          <pc:docMk/>
          <pc:sldMasterMk cId="3491839361" sldId="2147483648"/>
        </pc:sldMasterMkLst>
        <pc:sldLayoutChg chg="del">
          <pc:chgData name="Une Tangen" userId="ec6dd4d0-9964-4f1e-b96c-324c3d55b21c" providerId="ADAL" clId="{158F06E2-FB8C-40C1-BF92-BEB2BC840A85}" dt="2023-12-11T20:54:51.079" v="258" actId="47"/>
          <pc:sldLayoutMkLst>
            <pc:docMk/>
            <pc:sldMasterMk cId="3491839361" sldId="2147483648"/>
            <pc:sldLayoutMk cId="1239841619" sldId="214748369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C9726-B2A7-B043-9B9C-5AE4AFA8CB82}" type="datetimeFigureOut">
              <a:rPr lang="en-US" smtClean="0"/>
              <a:t>12/12/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F0AF78-0AB5-C747-AF02-BD58D80F942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58506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32B043-62CF-3F45-9A7D-7BFFCFFC35FE}" type="datetimeFigureOut">
              <a:t>12.12.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CF862A-7837-4344-B614-104AFDA7717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5299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AMVEIS_Ph02_Illustrasjon_REV_1-02 A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" r="2061" b="-1"/>
          <a:stretch/>
        </p:blipFill>
        <p:spPr>
          <a:xfrm>
            <a:off x="190785" y="194134"/>
            <a:ext cx="9529684" cy="5376086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4" name="Picture 13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331" y="5915729"/>
            <a:ext cx="6865022" cy="60961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344487" y="2292448"/>
            <a:ext cx="9217025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6496" y="2773363"/>
            <a:ext cx="6662445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&lt;</a:t>
            </a:r>
            <a:r>
              <a:rPr lang="en-US" dirty="0" err="1"/>
              <a:t>Klikk</a:t>
            </a:r>
            <a:r>
              <a:rPr lang="en-US" dirty="0"/>
              <a:t> for </a:t>
            </a:r>
            <a:r>
              <a:rPr lang="en-US" dirty="0" err="1"/>
              <a:t>å</a:t>
            </a:r>
            <a:r>
              <a:rPr lang="en-US" dirty="0"/>
              <a:t>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navn</a:t>
            </a:r>
            <a:r>
              <a:rPr lang="en-US" dirty="0"/>
              <a:t>&lt;</a:t>
            </a:r>
          </a:p>
        </p:txBody>
      </p:sp>
    </p:spTree>
    <p:extLst>
      <p:ext uri="{BB962C8B-B14F-4D97-AF65-F5344CB8AC3E}">
        <p14:creationId xmlns:p14="http://schemas.microsoft.com/office/powerpoint/2010/main" val="60642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635124"/>
            <a:ext cx="9503023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934050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0933" y="327262"/>
            <a:ext cx="950595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1733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20933" y="1635125"/>
            <a:ext cx="9505950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20933" y="2719613"/>
            <a:ext cx="9505950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på ikonet for å sette inn bilde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360603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530312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6700021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1837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09551" y="188913"/>
            <a:ext cx="9496424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på ikon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39552515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199364" y="188639"/>
            <a:ext cx="950616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3933" y="367266"/>
            <a:ext cx="9217025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/>
              <a:t>Klikk for å skrive inn avslutning</a:t>
            </a:r>
          </a:p>
        </p:txBody>
      </p:sp>
      <p:pic>
        <p:nvPicPr>
          <p:cNvPr id="10" name="Picture 9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464" y="5915729"/>
            <a:ext cx="6865022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50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231495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99706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0" y="4524493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0" y="674136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207995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3987194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5894432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7801670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9708907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172718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 userDrawn="1"/>
        </p:nvSpPr>
        <p:spPr>
          <a:xfrm>
            <a:off x="128464" y="72008"/>
            <a:ext cx="9649071" cy="66693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978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8670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96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96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96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llustrat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8230" y="188917"/>
            <a:ext cx="9049544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9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8230" y="475200"/>
            <a:ext cx="9049544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8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4142842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10149" y="327262"/>
            <a:ext cx="5317527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0149" y="1310350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67062" y="1310350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09550" y="1779071"/>
            <a:ext cx="5655979" cy="4313754"/>
          </a:xfrm>
        </p:spPr>
        <p:txBody>
          <a:bodyPr>
            <a:noAutofit/>
          </a:bodyPr>
          <a:lstStyle>
            <a:lvl1pPr>
              <a:tabLst>
                <a:tab pos="8032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sidenumm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pittel</a:t>
            </a:r>
            <a:r>
              <a:rPr lang="en-US" dirty="0"/>
              <a:t>. </a:t>
            </a:r>
            <a:r>
              <a:rPr lang="en-US" dirty="0" err="1"/>
              <a:t>Bruk</a:t>
            </a:r>
            <a:r>
              <a:rPr lang="en-US" dirty="0"/>
              <a:t> tab </a:t>
            </a:r>
            <a:r>
              <a:rPr lang="en-US" dirty="0" err="1"/>
              <a:t>etter</a:t>
            </a:r>
            <a:r>
              <a:rPr lang="en-US" dirty="0"/>
              <a:t> </a:t>
            </a:r>
            <a:r>
              <a:rPr lang="en-US" dirty="0" err="1"/>
              <a:t>sidenummer</a:t>
            </a:r>
            <a:endParaRPr lang="en-US" dirty="0"/>
          </a:p>
          <a:p>
            <a:pPr lvl="0"/>
            <a:r>
              <a:rPr lang="en-US" dirty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98439" y="1634133"/>
            <a:ext cx="566709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628800"/>
            <a:ext cx="3177878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3"/>
            <a:ext cx="3177878" cy="2356517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ere gå til </a:t>
            </a:r>
            <a:r>
              <a:rPr lang="nb-NO" sz="14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www.ks.no</a:t>
            </a: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/</a:t>
            </a:r>
            <a:r>
              <a:rPr lang="nb-NO" sz="14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samveis</a:t>
            </a: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ere finner det referert til i </a:t>
            </a:r>
            <a:r>
              <a:rPr lang="en-US" dirty="0"/>
              <a:t>[</a:t>
            </a:r>
            <a:r>
              <a:rPr lang="en-US" dirty="0" err="1"/>
              <a:t>Fase</a:t>
            </a:r>
            <a:r>
              <a:rPr lang="en-US" dirty="0"/>
              <a:t> </a:t>
            </a:r>
            <a:r>
              <a:rPr lang="en-US" dirty="0" err="1"/>
              <a:t>nr</a:t>
            </a:r>
            <a:r>
              <a:rPr lang="en-US" dirty="0"/>
              <a:t>, </a:t>
            </a:r>
            <a:r>
              <a:rPr lang="en-US" dirty="0" err="1"/>
              <a:t>Fasenavn</a:t>
            </a:r>
            <a:r>
              <a:rPr lang="en-US" dirty="0"/>
              <a:t>.]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244" y="4728614"/>
            <a:ext cx="3147432" cy="1795824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129202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580" userDrawn="1">
          <p15:clr>
            <a:srgbClr val="FBAE40"/>
          </p15:clr>
        </p15:guide>
        <p15:guide id="3" pos="3846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8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199364" y="188640"/>
            <a:ext cx="950616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9655" y="1628776"/>
            <a:ext cx="9217025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/>
              <a:t>Klikk for å skrive inn navn på kapittel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5628" y="3438248"/>
            <a:ext cx="6533596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14827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09549" y="1634464"/>
            <a:ext cx="5655979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994464"/>
            <a:ext cx="5657142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9551" y="3565249"/>
            <a:ext cx="5655978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08387" y="3925249"/>
            <a:ext cx="5657142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7332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8868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30117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3" y="327262"/>
            <a:ext cx="949714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15433" y="1634462"/>
            <a:ext cx="2694117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7964" y="5613752"/>
            <a:ext cx="5657566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16596" y="2205024"/>
            <a:ext cx="2700002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5" y="943270"/>
            <a:ext cx="949597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165529" y="1639678"/>
            <a:ext cx="2700000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161868" y="2205024"/>
            <a:ext cx="2700000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70907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5" y="327262"/>
            <a:ext cx="949713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9550" y="1628774"/>
            <a:ext cx="5652318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7" y="943270"/>
            <a:ext cx="9495975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6393159" y="4149080"/>
            <a:ext cx="3168353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.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3635" y="3784319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95162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27262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1772815"/>
            <a:ext cx="3177878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09550" y="1635124"/>
            <a:ext cx="5652318" cy="5034236"/>
          </a:xfrm>
          <a:solidFill>
            <a:srgbClr val="DCDE44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040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488" y="327262"/>
            <a:ext cx="9217024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6198" y="64139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12.12.2023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8727" y="6413951"/>
            <a:ext cx="2462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44487" y="1628775"/>
            <a:ext cx="9217025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9183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8" r:id="rId3"/>
    <p:sldLayoutId id="2147483663" r:id="rId4"/>
    <p:sldLayoutId id="2147483680" r:id="rId5"/>
    <p:sldLayoutId id="2147483681" r:id="rId6"/>
    <p:sldLayoutId id="2147483674" r:id="rId7"/>
    <p:sldLayoutId id="2147483675" r:id="rId8"/>
    <p:sldLayoutId id="2147483677" r:id="rId9"/>
    <p:sldLayoutId id="2147483661" r:id="rId10"/>
    <p:sldLayoutId id="2147483678" r:id="rId11"/>
    <p:sldLayoutId id="2147483669" r:id="rId12"/>
    <p:sldLayoutId id="2147483673" r:id="rId13"/>
    <p:sldLayoutId id="2147483682" r:id="rId14"/>
    <p:sldLayoutId id="2147483679" r:id="rId15"/>
    <p:sldLayoutId id="2147483684" r:id="rId16"/>
    <p:sldLayoutId id="2147483685" r:id="rId17"/>
    <p:sldLayoutId id="2147483686" r:id="rId18"/>
    <p:sldLayoutId id="2147483689" r:id="rId1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  <p15:guide id="3" pos="126" userDrawn="1">
          <p15:clr>
            <a:srgbClr val="F26B43"/>
          </p15:clr>
        </p15:guide>
        <p15:guide id="4" pos="6114" userDrawn="1">
          <p15:clr>
            <a:srgbClr val="F26B43"/>
          </p15:clr>
        </p15:guide>
        <p15:guide id="5" orient="horz" pos="119" userDrawn="1">
          <p15:clr>
            <a:srgbClr val="F26B43"/>
          </p15:clr>
        </p15:guide>
        <p15:guide id="6" orient="horz" pos="406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210" userDrawn="1">
          <p15:clr>
            <a:srgbClr val="F26B43"/>
          </p15:clr>
        </p15:guide>
        <p15:guide id="10" pos="217" userDrawn="1">
          <p15:clr>
            <a:srgbClr val="F26B43"/>
          </p15:clr>
        </p15:guide>
        <p15:guide id="11" pos="6023" userDrawn="1">
          <p15:clr>
            <a:srgbClr val="F26B43"/>
          </p15:clr>
        </p15:guide>
        <p15:guide id="12" orient="horz" pos="4201" userDrawn="1">
          <p15:clr>
            <a:srgbClr val="F26B43"/>
          </p15:clr>
        </p15:guide>
        <p15:guide id="13" pos="2984" userDrawn="1">
          <p15:clr>
            <a:srgbClr val="F26B43"/>
          </p15:clr>
        </p15:guide>
        <p15:guide id="14" pos="3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.xml"/><Relationship Id="rId6" Type="http://schemas.openxmlformats.org/officeDocument/2006/relationships/image" Target="../media/image15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.xml"/><Relationship Id="rId6" Type="http://schemas.openxmlformats.org/officeDocument/2006/relationships/image" Target="../media/image15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/>
              <a:t>03	Introduksjon til idémyldring</a:t>
            </a:r>
            <a:br>
              <a:rPr lang="nb-NO" b="1" dirty="0"/>
            </a:br>
            <a:endParaRPr lang="nb-NO" b="1" dirty="0"/>
          </a:p>
          <a:p>
            <a:r>
              <a:rPr lang="nb-NO" dirty="0"/>
              <a:t>11	Eksempler på utfylte maler</a:t>
            </a:r>
          </a:p>
          <a:p>
            <a:endParaRPr lang="nb-NO" dirty="0"/>
          </a:p>
          <a:p>
            <a:r>
              <a:rPr lang="nb-NO" dirty="0"/>
              <a:t>15	</a:t>
            </a:r>
            <a:r>
              <a:rPr lang="nb-NO" dirty="0" err="1"/>
              <a:t>Utskriftsvennlige</a:t>
            </a:r>
            <a:r>
              <a:rPr lang="nb-NO" dirty="0"/>
              <a:t> maler</a:t>
            </a:r>
          </a:p>
          <a:p>
            <a:endParaRPr lang="nb-NO" dirty="0"/>
          </a:p>
          <a:p>
            <a:r>
              <a:rPr lang="nb-NO" dirty="0"/>
              <a:t>23	PowerPoint-mal</a:t>
            </a:r>
          </a:p>
          <a:p>
            <a:endParaRPr lang="nb-NO" dirty="0"/>
          </a:p>
          <a:p>
            <a:r>
              <a:rPr lang="nb-NO" dirty="0"/>
              <a:t>27	Videreutvikling av idéer</a:t>
            </a:r>
          </a:p>
          <a:p>
            <a:endParaRPr lang="nb-NO" dirty="0">
              <a:solidFill>
                <a:srgbClr val="FF0000"/>
              </a:solidFill>
            </a:endParaRPr>
          </a:p>
          <a:p>
            <a:pPr lvl="1" indent="0">
              <a:buNone/>
            </a:pPr>
            <a:r>
              <a:rPr lang="en-US" dirty="0"/>
              <a:t>	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360949-4B9F-9B4C-948A-35244A0B85F5}" type="slidenum">
              <a:rPr lang="nb-NO" smtClean="0"/>
              <a:pPr/>
              <a:t>1</a:t>
            </a:fld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402882" y="1687940"/>
            <a:ext cx="3177878" cy="444916"/>
          </a:xfrm>
        </p:spPr>
        <p:txBody>
          <a:bodyPr>
            <a:normAutofit fontScale="92500" lnSpcReduction="20000"/>
          </a:bodyPr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6393160" y="2080593"/>
            <a:ext cx="3177878" cy="2572543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latin typeface="Arial"/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55112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090381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5440177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itle 1"/>
          <p:cNvSpPr txBox="1">
            <a:spLocks/>
          </p:cNvSpPr>
          <p:nvPr/>
        </p:nvSpPr>
        <p:spPr>
          <a:xfrm>
            <a:off x="5010594" y="5487209"/>
            <a:ext cx="4529498" cy="939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Utfordring som vil løses: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44488" y="5487210"/>
            <a:ext cx="2210828" cy="93946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Beskrivelse av idéen:</a:t>
            </a:r>
          </a:p>
        </p:txBody>
      </p:sp>
      <p:cxnSp>
        <p:nvCxnSpPr>
          <p:cNvPr id="72" name="Straight Connector 71"/>
          <p:cNvCxnSpPr/>
          <p:nvPr/>
        </p:nvCxnSpPr>
        <p:spPr>
          <a:xfrm flipV="1">
            <a:off x="4960006" y="5440177"/>
            <a:ext cx="0" cy="117247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Title 1"/>
          <p:cNvSpPr txBox="1">
            <a:spLocks/>
          </p:cNvSpPr>
          <p:nvPr/>
        </p:nvSpPr>
        <p:spPr>
          <a:xfrm>
            <a:off x="351107" y="504486"/>
            <a:ext cx="2297637" cy="47624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600" dirty="0">
                <a:solidFill>
                  <a:srgbClr val="3A7EC0"/>
                </a:solidFill>
              </a:rPr>
              <a:t>Beskrivende tittel:</a:t>
            </a:r>
          </a:p>
        </p:txBody>
      </p:sp>
      <p:pic>
        <p:nvPicPr>
          <p:cNvPr id="3" name="Picture 2" descr="logo_aho.png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3231814" y="1484784"/>
            <a:ext cx="3456384" cy="3456384"/>
            <a:chOff x="3231814" y="1484784"/>
            <a:chExt cx="3456384" cy="3456384"/>
          </a:xfrm>
        </p:grpSpPr>
        <p:sp>
          <p:nvSpPr>
            <p:cNvPr id="61" name="Title 1"/>
            <p:cNvSpPr txBox="1">
              <a:spLocks/>
            </p:cNvSpPr>
            <p:nvPr/>
          </p:nvSpPr>
          <p:spPr>
            <a:xfrm>
              <a:off x="3723364" y="2888503"/>
              <a:ext cx="2473285" cy="637537"/>
            </a:xfrm>
            <a:prstGeom prst="rect">
              <a:avLst/>
            </a:prstGeom>
          </p:spPr>
          <p:txBody>
            <a:bodyPr/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3600" b="1" i="0">
                  <a:solidFill>
                    <a:schemeClr val="accent3"/>
                  </a:solidFill>
                  <a:latin typeface="+mn-lt"/>
                  <a:ea typeface="+mj-ea"/>
                  <a:cs typeface="Times New Roman" pitchFamily="18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5pPr>
              <a:lvl6pPr marL="51198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6pPr>
              <a:lvl7pPr marL="102396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7pPr>
              <a:lvl8pPr marL="153594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8pPr>
              <a:lvl9pPr marL="204792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9pPr>
            </a:lstStyle>
            <a:p>
              <a:pPr algn="ctr" defTabSz="914400"/>
              <a:r>
                <a:rPr lang="nb-NO" sz="3200" dirty="0">
                  <a:solidFill>
                    <a:prstClr val="white">
                      <a:lumMod val="85000"/>
                    </a:prstClr>
                  </a:solidFill>
                </a:rPr>
                <a:t>Tegning</a:t>
              </a:r>
            </a:p>
          </p:txBody>
        </p:sp>
        <p:sp>
          <p:nvSpPr>
            <p:cNvPr id="4" name="Oval 3"/>
            <p:cNvSpPr/>
            <p:nvPr/>
          </p:nvSpPr>
          <p:spPr>
            <a:xfrm>
              <a:off x="3231814" y="1484784"/>
              <a:ext cx="3456384" cy="3456384"/>
            </a:xfrm>
            <a:prstGeom prst="ellipse">
              <a:avLst/>
            </a:prstGeom>
            <a:noFill/>
            <a:ln w="127000" cmpd="sng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nb-NO">
                <a:solidFill>
                  <a:prstClr val="white"/>
                </a:solidFill>
              </a:endParaRPr>
            </a:p>
          </p:txBody>
        </p:sp>
      </p:grpSp>
      <p:sp>
        <p:nvSpPr>
          <p:cNvPr id="25" name="Title 1"/>
          <p:cNvSpPr txBox="1">
            <a:spLocks/>
          </p:cNvSpPr>
          <p:nvPr/>
        </p:nvSpPr>
        <p:spPr>
          <a:xfrm>
            <a:off x="2939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1</a:t>
            </a:r>
          </a:p>
        </p:txBody>
      </p:sp>
    </p:spTree>
    <p:extLst>
      <p:ext uri="{BB962C8B-B14F-4D97-AF65-F5344CB8AC3E}">
        <p14:creationId xmlns:p14="http://schemas.microsoft.com/office/powerpoint/2010/main" val="452773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928347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6628938" y="1052736"/>
            <a:ext cx="0" cy="555991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4967845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itle 1"/>
          <p:cNvSpPr txBox="1">
            <a:spLocks/>
          </p:cNvSpPr>
          <p:nvPr/>
        </p:nvSpPr>
        <p:spPr>
          <a:xfrm>
            <a:off x="6681192" y="1182538"/>
            <a:ext cx="2386662" cy="5805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Gevinster for </a:t>
            </a:r>
            <a:br>
              <a:rPr lang="nb-NO" dirty="0">
                <a:solidFill>
                  <a:srgbClr val="3A7EC0"/>
                </a:solidFill>
              </a:rPr>
            </a:br>
            <a:r>
              <a:rPr lang="nb-NO" dirty="0">
                <a:solidFill>
                  <a:srgbClr val="3A7EC0"/>
                </a:solidFill>
              </a:rPr>
              <a:t>brukere, pårørende</a:t>
            </a:r>
            <a:br>
              <a:rPr lang="nb-NO" dirty="0">
                <a:solidFill>
                  <a:srgbClr val="3A7EC0"/>
                </a:solidFill>
              </a:rPr>
            </a:br>
            <a:r>
              <a:rPr lang="nb-NO" dirty="0">
                <a:solidFill>
                  <a:srgbClr val="3A7EC0"/>
                </a:solidFill>
              </a:rPr>
              <a:t>og kommunen:</a:t>
            </a: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22" t="37184" r="35889" b="2594"/>
          <a:stretch/>
        </p:blipFill>
        <p:spPr>
          <a:xfrm>
            <a:off x="8325132" y="1182539"/>
            <a:ext cx="638462" cy="580543"/>
          </a:xfrm>
          <a:prstGeom prst="rect">
            <a:avLst/>
          </a:prstGeom>
        </p:spPr>
      </p:pic>
      <p:sp>
        <p:nvSpPr>
          <p:cNvPr id="66" name="Title 1"/>
          <p:cNvSpPr txBox="1">
            <a:spLocks/>
          </p:cNvSpPr>
          <p:nvPr/>
        </p:nvSpPr>
        <p:spPr>
          <a:xfrm>
            <a:off x="6753200" y="1985590"/>
            <a:ext cx="2262400" cy="3632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rgbClr val="3A7EC0"/>
                </a:solidFill>
              </a:rPr>
              <a:t>Unngåtte kostnader:</a:t>
            </a:r>
          </a:p>
        </p:txBody>
      </p:sp>
      <p:sp>
        <p:nvSpPr>
          <p:cNvPr id="67" name="Title 1"/>
          <p:cNvSpPr txBox="1">
            <a:spLocks/>
          </p:cNvSpPr>
          <p:nvPr/>
        </p:nvSpPr>
        <p:spPr>
          <a:xfrm>
            <a:off x="6753200" y="3789040"/>
            <a:ext cx="2262400" cy="3632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rgbClr val="3A7EC0"/>
                </a:solidFill>
              </a:rPr>
              <a:t>Kvalitet:</a:t>
            </a:r>
          </a:p>
        </p:txBody>
      </p:sp>
      <p:sp>
        <p:nvSpPr>
          <p:cNvPr id="68" name="Title 1"/>
          <p:cNvSpPr txBox="1">
            <a:spLocks/>
          </p:cNvSpPr>
          <p:nvPr/>
        </p:nvSpPr>
        <p:spPr>
          <a:xfrm>
            <a:off x="6753200" y="2876672"/>
            <a:ext cx="2262400" cy="3632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rgbClr val="3A7EC0"/>
                </a:solidFill>
              </a:rPr>
              <a:t>Tid:</a:t>
            </a:r>
          </a:p>
        </p:txBody>
      </p:sp>
      <p:sp>
        <p:nvSpPr>
          <p:cNvPr id="70" name="Title 1"/>
          <p:cNvSpPr txBox="1">
            <a:spLocks/>
          </p:cNvSpPr>
          <p:nvPr/>
        </p:nvSpPr>
        <p:spPr>
          <a:xfrm>
            <a:off x="6681192" y="5013177"/>
            <a:ext cx="2985786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Hva kreves for å implementere idéen:</a:t>
            </a:r>
          </a:p>
        </p:txBody>
      </p:sp>
      <p:sp>
        <p:nvSpPr>
          <p:cNvPr id="74" name="Title 1"/>
          <p:cNvSpPr txBox="1">
            <a:spLocks/>
          </p:cNvSpPr>
          <p:nvPr/>
        </p:nvSpPr>
        <p:spPr>
          <a:xfrm>
            <a:off x="351107" y="504486"/>
            <a:ext cx="2297637" cy="47624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600" dirty="0">
                <a:solidFill>
                  <a:srgbClr val="3A7EC0"/>
                </a:solidFill>
              </a:rPr>
              <a:t>Beskrivende tittel:</a:t>
            </a:r>
          </a:p>
        </p:txBody>
      </p:sp>
      <p:sp>
        <p:nvSpPr>
          <p:cNvPr id="75" name="Freeform 74"/>
          <p:cNvSpPr/>
          <p:nvPr/>
        </p:nvSpPr>
        <p:spPr>
          <a:xfrm>
            <a:off x="9065335" y="1295755"/>
            <a:ext cx="409360" cy="405013"/>
          </a:xfrm>
          <a:custGeom>
            <a:avLst/>
            <a:gdLst>
              <a:gd name="connsiteX0" fmla="*/ 24663 w 696434"/>
              <a:gd name="connsiteY0" fmla="*/ 38271 h 689040"/>
              <a:gd name="connsiteX1" fmla="*/ 45656 w 696434"/>
              <a:gd name="connsiteY1" fmla="*/ 153730 h 689040"/>
              <a:gd name="connsiteX2" fmla="*/ 56152 w 696434"/>
              <a:gd name="connsiteY2" fmla="*/ 185219 h 689040"/>
              <a:gd name="connsiteX3" fmla="*/ 66649 w 696434"/>
              <a:gd name="connsiteY3" fmla="*/ 227204 h 689040"/>
              <a:gd name="connsiteX4" fmla="*/ 87641 w 696434"/>
              <a:gd name="connsiteY4" fmla="*/ 290182 h 689040"/>
              <a:gd name="connsiteX5" fmla="*/ 108634 w 696434"/>
              <a:gd name="connsiteY5" fmla="*/ 321671 h 689040"/>
              <a:gd name="connsiteX6" fmla="*/ 150620 w 696434"/>
              <a:gd name="connsiteY6" fmla="*/ 395144 h 689040"/>
              <a:gd name="connsiteX7" fmla="*/ 192606 w 696434"/>
              <a:gd name="connsiteY7" fmla="*/ 458122 h 689040"/>
              <a:gd name="connsiteX8" fmla="*/ 224095 w 696434"/>
              <a:gd name="connsiteY8" fmla="*/ 521100 h 689040"/>
              <a:gd name="connsiteX9" fmla="*/ 255584 w 696434"/>
              <a:gd name="connsiteY9" fmla="*/ 542092 h 689040"/>
              <a:gd name="connsiteX10" fmla="*/ 287074 w 696434"/>
              <a:gd name="connsiteY10" fmla="*/ 605070 h 689040"/>
              <a:gd name="connsiteX11" fmla="*/ 318563 w 696434"/>
              <a:gd name="connsiteY11" fmla="*/ 626062 h 689040"/>
              <a:gd name="connsiteX12" fmla="*/ 371045 w 696434"/>
              <a:gd name="connsiteY12" fmla="*/ 689040 h 689040"/>
              <a:gd name="connsiteX13" fmla="*/ 402534 w 696434"/>
              <a:gd name="connsiteY13" fmla="*/ 678544 h 689040"/>
              <a:gd name="connsiteX14" fmla="*/ 423527 w 696434"/>
              <a:gd name="connsiteY14" fmla="*/ 647055 h 689040"/>
              <a:gd name="connsiteX15" fmla="*/ 455016 w 696434"/>
              <a:gd name="connsiteY15" fmla="*/ 626062 h 689040"/>
              <a:gd name="connsiteX16" fmla="*/ 465513 w 696434"/>
              <a:gd name="connsiteY16" fmla="*/ 594574 h 689040"/>
              <a:gd name="connsiteX17" fmla="*/ 528491 w 696434"/>
              <a:gd name="connsiteY17" fmla="*/ 531596 h 689040"/>
              <a:gd name="connsiteX18" fmla="*/ 538988 w 696434"/>
              <a:gd name="connsiteY18" fmla="*/ 500107 h 689040"/>
              <a:gd name="connsiteX19" fmla="*/ 559981 w 696434"/>
              <a:gd name="connsiteY19" fmla="*/ 426633 h 689040"/>
              <a:gd name="connsiteX20" fmla="*/ 580973 w 696434"/>
              <a:gd name="connsiteY20" fmla="*/ 395144 h 689040"/>
              <a:gd name="connsiteX21" fmla="*/ 612463 w 696434"/>
              <a:gd name="connsiteY21" fmla="*/ 321671 h 689040"/>
              <a:gd name="connsiteX22" fmla="*/ 654448 w 696434"/>
              <a:gd name="connsiteY22" fmla="*/ 227204 h 689040"/>
              <a:gd name="connsiteX23" fmla="*/ 664945 w 696434"/>
              <a:gd name="connsiteY23" fmla="*/ 185219 h 689040"/>
              <a:gd name="connsiteX24" fmla="*/ 675441 w 696434"/>
              <a:gd name="connsiteY24" fmla="*/ 153730 h 689040"/>
              <a:gd name="connsiteX25" fmla="*/ 696434 w 696434"/>
              <a:gd name="connsiteY25" fmla="*/ 69760 h 689040"/>
              <a:gd name="connsiteX26" fmla="*/ 423527 w 696434"/>
              <a:gd name="connsiteY26" fmla="*/ 38271 h 689040"/>
              <a:gd name="connsiteX27" fmla="*/ 24663 w 696434"/>
              <a:gd name="connsiteY27" fmla="*/ 38271 h 68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96434" h="689040">
                <a:moveTo>
                  <a:pt x="24663" y="38271"/>
                </a:moveTo>
                <a:cubicBezTo>
                  <a:pt x="-38315" y="57514"/>
                  <a:pt x="38317" y="124376"/>
                  <a:pt x="45656" y="153730"/>
                </a:cubicBezTo>
                <a:cubicBezTo>
                  <a:pt x="48339" y="164464"/>
                  <a:pt x="53112" y="174581"/>
                  <a:pt x="56152" y="185219"/>
                </a:cubicBezTo>
                <a:cubicBezTo>
                  <a:pt x="60115" y="199090"/>
                  <a:pt x="62504" y="213387"/>
                  <a:pt x="66649" y="227204"/>
                </a:cubicBezTo>
                <a:cubicBezTo>
                  <a:pt x="73007" y="248399"/>
                  <a:pt x="75366" y="271770"/>
                  <a:pt x="87641" y="290182"/>
                </a:cubicBezTo>
                <a:cubicBezTo>
                  <a:pt x="94639" y="300678"/>
                  <a:pt x="102992" y="310388"/>
                  <a:pt x="108634" y="321671"/>
                </a:cubicBezTo>
                <a:cubicBezTo>
                  <a:pt x="156733" y="417864"/>
                  <a:pt x="61786" y="268240"/>
                  <a:pt x="150620" y="395144"/>
                </a:cubicBezTo>
                <a:cubicBezTo>
                  <a:pt x="165089" y="415813"/>
                  <a:pt x="192606" y="458122"/>
                  <a:pt x="192606" y="458122"/>
                </a:cubicBezTo>
                <a:cubicBezTo>
                  <a:pt x="201143" y="483733"/>
                  <a:pt x="203747" y="500752"/>
                  <a:pt x="224095" y="521100"/>
                </a:cubicBezTo>
                <a:cubicBezTo>
                  <a:pt x="233015" y="530020"/>
                  <a:pt x="245088" y="535095"/>
                  <a:pt x="255584" y="542092"/>
                </a:cubicBezTo>
                <a:cubicBezTo>
                  <a:pt x="264121" y="567702"/>
                  <a:pt x="266727" y="584723"/>
                  <a:pt x="287074" y="605070"/>
                </a:cubicBezTo>
                <a:cubicBezTo>
                  <a:pt x="295994" y="613990"/>
                  <a:pt x="308872" y="617986"/>
                  <a:pt x="318563" y="626062"/>
                </a:cubicBezTo>
                <a:cubicBezTo>
                  <a:pt x="348869" y="651317"/>
                  <a:pt x="350404" y="658079"/>
                  <a:pt x="371045" y="689040"/>
                </a:cubicBezTo>
                <a:cubicBezTo>
                  <a:pt x="381541" y="685541"/>
                  <a:pt x="393894" y="685456"/>
                  <a:pt x="402534" y="678544"/>
                </a:cubicBezTo>
                <a:cubicBezTo>
                  <a:pt x="412385" y="670663"/>
                  <a:pt x="414607" y="655975"/>
                  <a:pt x="423527" y="647055"/>
                </a:cubicBezTo>
                <a:cubicBezTo>
                  <a:pt x="432447" y="638135"/>
                  <a:pt x="444520" y="633060"/>
                  <a:pt x="455016" y="626062"/>
                </a:cubicBezTo>
                <a:cubicBezTo>
                  <a:pt x="458515" y="615566"/>
                  <a:pt x="458720" y="603307"/>
                  <a:pt x="465513" y="594574"/>
                </a:cubicBezTo>
                <a:cubicBezTo>
                  <a:pt x="483740" y="571140"/>
                  <a:pt x="528491" y="531596"/>
                  <a:pt x="528491" y="531596"/>
                </a:cubicBezTo>
                <a:cubicBezTo>
                  <a:pt x="531990" y="521100"/>
                  <a:pt x="535948" y="510745"/>
                  <a:pt x="538988" y="500107"/>
                </a:cubicBezTo>
                <a:cubicBezTo>
                  <a:pt x="543475" y="484404"/>
                  <a:pt x="551589" y="443417"/>
                  <a:pt x="559981" y="426633"/>
                </a:cubicBezTo>
                <a:cubicBezTo>
                  <a:pt x="565623" y="415350"/>
                  <a:pt x="573976" y="405640"/>
                  <a:pt x="580973" y="395144"/>
                </a:cubicBezTo>
                <a:cubicBezTo>
                  <a:pt x="608742" y="284075"/>
                  <a:pt x="571039" y="414872"/>
                  <a:pt x="612463" y="321671"/>
                </a:cubicBezTo>
                <a:cubicBezTo>
                  <a:pt x="662431" y="209245"/>
                  <a:pt x="606938" y="298472"/>
                  <a:pt x="654448" y="227204"/>
                </a:cubicBezTo>
                <a:cubicBezTo>
                  <a:pt x="657947" y="213209"/>
                  <a:pt x="660982" y="199090"/>
                  <a:pt x="664945" y="185219"/>
                </a:cubicBezTo>
                <a:cubicBezTo>
                  <a:pt x="667985" y="174581"/>
                  <a:pt x="672530" y="164404"/>
                  <a:pt x="675441" y="153730"/>
                </a:cubicBezTo>
                <a:cubicBezTo>
                  <a:pt x="683032" y="125895"/>
                  <a:pt x="696434" y="69760"/>
                  <a:pt x="696434" y="69760"/>
                </a:cubicBezTo>
                <a:cubicBezTo>
                  <a:pt x="664806" y="-56756"/>
                  <a:pt x="699752" y="24797"/>
                  <a:pt x="423527" y="38271"/>
                </a:cubicBezTo>
                <a:cubicBezTo>
                  <a:pt x="109905" y="53570"/>
                  <a:pt x="87641" y="19028"/>
                  <a:pt x="24663" y="38271"/>
                </a:cubicBezTo>
                <a:close/>
              </a:path>
            </a:pathLst>
          </a:cu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939173" y="1707814"/>
            <a:ext cx="2585282" cy="2585282"/>
            <a:chOff x="3231814" y="1484784"/>
            <a:chExt cx="3456384" cy="3456384"/>
          </a:xfrm>
        </p:grpSpPr>
        <p:sp>
          <p:nvSpPr>
            <p:cNvPr id="33" name="Title 1"/>
            <p:cNvSpPr txBox="1">
              <a:spLocks/>
            </p:cNvSpPr>
            <p:nvPr/>
          </p:nvSpPr>
          <p:spPr>
            <a:xfrm>
              <a:off x="3723364" y="2888503"/>
              <a:ext cx="2473285" cy="637537"/>
            </a:xfrm>
            <a:prstGeom prst="rect">
              <a:avLst/>
            </a:prstGeom>
          </p:spPr>
          <p:txBody>
            <a:bodyPr/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3600" b="1" i="0">
                  <a:solidFill>
                    <a:schemeClr val="accent3"/>
                  </a:solidFill>
                  <a:latin typeface="+mn-lt"/>
                  <a:ea typeface="+mj-ea"/>
                  <a:cs typeface="Times New Roman" pitchFamily="18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5pPr>
              <a:lvl6pPr marL="51198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6pPr>
              <a:lvl7pPr marL="102396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7pPr>
              <a:lvl8pPr marL="153594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8pPr>
              <a:lvl9pPr marL="204792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9pPr>
            </a:lstStyle>
            <a:p>
              <a:pPr algn="ctr" defTabSz="914400"/>
              <a:r>
                <a:rPr lang="nb-NO" sz="2800" dirty="0">
                  <a:solidFill>
                    <a:prstClr val="white">
                      <a:lumMod val="85000"/>
                    </a:prstClr>
                  </a:solidFill>
                </a:rPr>
                <a:t>Tegning</a:t>
              </a:r>
            </a:p>
          </p:txBody>
        </p:sp>
        <p:sp>
          <p:nvSpPr>
            <p:cNvPr id="34" name="Oval 33"/>
            <p:cNvSpPr/>
            <p:nvPr/>
          </p:nvSpPr>
          <p:spPr>
            <a:xfrm>
              <a:off x="3231814" y="1484784"/>
              <a:ext cx="3456384" cy="3456384"/>
            </a:xfrm>
            <a:prstGeom prst="ellipse">
              <a:avLst/>
            </a:prstGeom>
            <a:noFill/>
            <a:ln w="127000" cmpd="sng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nb-NO">
                <a:solidFill>
                  <a:prstClr val="white"/>
                </a:solidFill>
              </a:endParaRPr>
            </a:p>
          </p:txBody>
        </p:sp>
      </p:grp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40" name="Title 1"/>
          <p:cNvSpPr txBox="1">
            <a:spLocks/>
          </p:cNvSpPr>
          <p:nvPr/>
        </p:nvSpPr>
        <p:spPr>
          <a:xfrm>
            <a:off x="332156" y="5013177"/>
            <a:ext cx="3900764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Beskrivelse av idéen: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idébeskrivelsen her]</a:t>
            </a:r>
          </a:p>
          <a:p>
            <a:endParaRPr lang="nb-NO" dirty="0">
              <a:cs typeface="Arial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41" name="Title 1"/>
          <p:cNvSpPr txBox="1">
            <a:spLocks/>
          </p:cNvSpPr>
          <p:nvPr/>
        </p:nvSpPr>
        <p:spPr>
          <a:xfrm>
            <a:off x="4232920" y="5013176"/>
            <a:ext cx="2039257" cy="14435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Utfordring som vil løses:</a:t>
            </a:r>
          </a:p>
          <a:p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Beskriv utfordringen som idéen vil hjelpe å løse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 flipV="1">
            <a:off x="4160912" y="4967845"/>
            <a:ext cx="0" cy="1644805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itle 1"/>
          <p:cNvSpPr txBox="1">
            <a:spLocks/>
          </p:cNvSpPr>
          <p:nvPr/>
        </p:nvSpPr>
        <p:spPr>
          <a:xfrm>
            <a:off x="2952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2</a:t>
            </a:r>
          </a:p>
        </p:txBody>
      </p:sp>
    </p:spTree>
    <p:extLst>
      <p:ext uri="{BB962C8B-B14F-4D97-AF65-F5344CB8AC3E}">
        <p14:creationId xmlns:p14="http://schemas.microsoft.com/office/powerpoint/2010/main" val="4098087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89725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2297637" cy="2847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SORTERINGSARK</a:t>
            </a:r>
          </a:p>
        </p:txBody>
      </p:sp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6471491" y="419851"/>
            <a:ext cx="0" cy="6192799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 txBox="1">
            <a:spLocks/>
          </p:cNvSpPr>
          <p:nvPr/>
        </p:nvSpPr>
        <p:spPr>
          <a:xfrm>
            <a:off x="533099" y="620688"/>
            <a:ext cx="2824843" cy="4248472"/>
          </a:xfrm>
          <a:prstGeom prst="rect">
            <a:avLst/>
          </a:prstGeom>
        </p:spPr>
        <p:txBody>
          <a:bodyPr lIns="91434" tIns="45717" rIns="91434" bIns="45717" anchor="t"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lvl="0"/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Hverdagsforbedringer </a:t>
            </a:r>
          </a:p>
          <a:p>
            <a:pPr lvl="0"/>
            <a:endParaRPr lang="nb-NO" sz="800" b="0" dirty="0">
              <a:latin typeface="Arial"/>
              <a:cs typeface="Arial"/>
            </a:endParaRPr>
          </a:p>
          <a:p>
            <a:pPr lvl="0"/>
            <a:r>
              <a:rPr lang="nb-NO" sz="1000" b="0" i="1" dirty="0">
                <a:latin typeface="Arial"/>
                <a:cs typeface="Arial"/>
              </a:rPr>
              <a:t>Endringer i måten å jobbe på som verken krever større organisasjonsendringer eller store investeringer</a:t>
            </a: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en-US" sz="1100" b="0" i="1" dirty="0">
              <a:latin typeface="Arial"/>
              <a:cs typeface="Arial"/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3536784" y="620688"/>
            <a:ext cx="2844000" cy="3819562"/>
          </a:xfrm>
          <a:prstGeom prst="rect">
            <a:avLst/>
          </a:prstGeom>
        </p:spPr>
        <p:txBody>
          <a:bodyPr lIns="91434" tIns="45717" rIns="91434" bIns="45717" anchor="t"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lvl="0"/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Store endringer</a:t>
            </a:r>
          </a:p>
          <a:p>
            <a:pPr lvl="0"/>
            <a:endParaRPr lang="nb-NO" sz="800" b="0" dirty="0">
              <a:latin typeface="Arial"/>
              <a:cs typeface="Arial"/>
            </a:endParaRPr>
          </a:p>
          <a:p>
            <a:pPr lvl="0"/>
            <a:r>
              <a:rPr lang="nb-NO" sz="1000" b="0" i="1" dirty="0">
                <a:latin typeface="Arial"/>
                <a:cs typeface="Arial"/>
              </a:rPr>
              <a:t>Endringer som innebærer endring i tjenestetilbudet, store endringer av prosesser, endringer i organisering, store investeringer og omfattende utviklingsarbeid</a:t>
            </a: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en-US" sz="1100" b="0" i="1" dirty="0">
              <a:latin typeface="Arial"/>
              <a:cs typeface="Arial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6640719" y="635202"/>
            <a:ext cx="2844000" cy="3819562"/>
          </a:xfrm>
          <a:prstGeom prst="rect">
            <a:avLst/>
          </a:prstGeom>
        </p:spPr>
        <p:txBody>
          <a:bodyPr lIns="91434" tIns="45717" rIns="91434" bIns="45717" anchor="t"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lvl="0"/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Radikale endringer</a:t>
            </a:r>
          </a:p>
          <a:p>
            <a:pPr lvl="0"/>
            <a:endParaRPr lang="nb-NO" sz="800" b="0" i="1" dirty="0">
              <a:latin typeface="Arial"/>
              <a:cs typeface="Arial"/>
            </a:endParaRPr>
          </a:p>
          <a:p>
            <a:pPr lvl="0"/>
            <a:r>
              <a:rPr lang="nb-NO" sz="1000" b="0" i="1" dirty="0">
                <a:latin typeface="Arial"/>
                <a:cs typeface="Arial"/>
              </a:rPr>
              <a:t>Endringer som innebærer et nytt tjenestetilbud, nye prosesser og vesentlige endringer på organisering. Endringene krever omfattende politisk forankring og muligens endringer i lovverk</a:t>
            </a: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en-US" sz="1100" b="0" i="1" dirty="0">
              <a:latin typeface="Arial"/>
              <a:cs typeface="Arial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3312067" y="419851"/>
            <a:ext cx="0" cy="6192799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_aho.png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081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767556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2297637" cy="2847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PRIORITERING AV IDÉER</a:t>
            </a:r>
          </a:p>
        </p:txBody>
      </p:sp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565187" y="980728"/>
            <a:ext cx="6696606" cy="5307990"/>
            <a:chOff x="1506766" y="836712"/>
            <a:chExt cx="7034052" cy="5575463"/>
          </a:xfrm>
        </p:grpSpPr>
        <p:cxnSp>
          <p:nvCxnSpPr>
            <p:cNvPr id="20" name="Straight Arrow Connector 19"/>
            <p:cNvCxnSpPr/>
            <p:nvPr/>
          </p:nvCxnSpPr>
          <p:spPr>
            <a:xfrm flipV="1">
              <a:off x="5000772" y="1164889"/>
              <a:ext cx="0" cy="4893421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rot="5400000" flipV="1">
              <a:off x="5000772" y="1164888"/>
              <a:ext cx="0" cy="4893423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4124540" y="836712"/>
              <a:ext cx="173036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Enkelt å gjennomføre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996690" y="6121218"/>
              <a:ext cx="199545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Vanskelig å gjennomføre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493329" y="3462735"/>
              <a:ext cx="1047489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Stor gevinst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506766" y="3462735"/>
              <a:ext cx="1101555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Liten gevinst</a:t>
              </a: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88349" y="5104595"/>
              <a:ext cx="828568" cy="953716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103" y="1102141"/>
              <a:ext cx="806658" cy="1008111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42736" y="1098155"/>
              <a:ext cx="774181" cy="848028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14178" y="5150258"/>
              <a:ext cx="833503" cy="970961"/>
            </a:xfrm>
            <a:prstGeom prst="rect">
              <a:avLst/>
            </a:prstGeom>
          </p:spPr>
        </p:pic>
      </p:grp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0374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592" y="1556792"/>
            <a:ext cx="2464720" cy="308025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5128" y="1720521"/>
            <a:ext cx="2365487" cy="2591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0810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950" y="1584086"/>
            <a:ext cx="2531665" cy="29140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592" y="1541559"/>
            <a:ext cx="2546743" cy="296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976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owerPoint-m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dirty="0"/>
              <a:t>Dokumentere idéer</a:t>
            </a:r>
          </a:p>
        </p:txBody>
      </p:sp>
    </p:spTree>
    <p:extLst>
      <p:ext uri="{BB962C8B-B14F-4D97-AF65-F5344CB8AC3E}">
        <p14:creationId xmlns:p14="http://schemas.microsoft.com/office/powerpoint/2010/main" val="24351449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846051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5440177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itle 1"/>
          <p:cNvSpPr txBox="1">
            <a:spLocks/>
          </p:cNvSpPr>
          <p:nvPr/>
        </p:nvSpPr>
        <p:spPr>
          <a:xfrm>
            <a:off x="5010594" y="5487209"/>
            <a:ext cx="4529498" cy="939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Utfordring som vil løses:</a:t>
            </a:r>
          </a:p>
          <a:p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Beskriv utfordringen som idéen vil hjelpe å løse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44488" y="5487210"/>
            <a:ext cx="4464496" cy="93946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Beskrivelse av idéen: 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idébeskrivelsen her]</a:t>
            </a:r>
          </a:p>
          <a:p>
            <a:endParaRPr lang="nb-NO" dirty="0">
              <a:cs typeface="Arial"/>
            </a:endParaRP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 flipV="1">
            <a:off x="4960006" y="5440177"/>
            <a:ext cx="0" cy="117247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_aho.png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399382" y="516084"/>
            <a:ext cx="7266580" cy="476242"/>
          </a:xfrm>
          <a:prstGeom prst="rect">
            <a:avLst/>
          </a:prstGeom>
        </p:spPr>
        <p:txBody>
          <a:bodyPr lIns="91434" tIns="45717" rIns="91434" bIns="45717"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r>
              <a:rPr lang="nb-NO" sz="1600" dirty="0">
                <a:solidFill>
                  <a:srgbClr val="3A7EC0"/>
                </a:solidFill>
                <a:latin typeface="Arial"/>
                <a:cs typeface="Arial"/>
              </a:rPr>
              <a:t>[Legg inn beskrivende tittel for idéen]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85656" y="1124745"/>
            <a:ext cx="6192688" cy="762510"/>
          </a:xfrm>
          <a:prstGeom prst="rect">
            <a:avLst/>
          </a:prstGeom>
          <a:noFill/>
        </p:spPr>
        <p:txBody>
          <a:bodyPr wrap="square" lIns="71995" tIns="71995" rIns="71995" bIns="71995" rtlCol="0">
            <a:noAutofit/>
          </a:bodyPr>
          <a:lstStyle/>
          <a:p>
            <a:pPr algn="l">
              <a:spcBef>
                <a:spcPct val="20000"/>
              </a:spcBef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[Legg inn illustrasjon av idéen her.]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2952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1</a:t>
            </a:r>
          </a:p>
        </p:txBody>
      </p:sp>
    </p:spTree>
    <p:extLst>
      <p:ext uri="{BB962C8B-B14F-4D97-AF65-F5344CB8AC3E}">
        <p14:creationId xmlns:p14="http://schemas.microsoft.com/office/powerpoint/2010/main" val="10251183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246223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6628938" y="1052736"/>
            <a:ext cx="0" cy="555991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4967845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itle 1"/>
          <p:cNvSpPr txBox="1">
            <a:spLocks/>
          </p:cNvSpPr>
          <p:nvPr/>
        </p:nvSpPr>
        <p:spPr>
          <a:xfrm>
            <a:off x="6681192" y="1182538"/>
            <a:ext cx="2386662" cy="5805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Gevinster for </a:t>
            </a:r>
            <a:br>
              <a:rPr lang="nb-NO" dirty="0">
                <a:solidFill>
                  <a:srgbClr val="3A7EC0"/>
                </a:solidFill>
              </a:rPr>
            </a:br>
            <a:r>
              <a:rPr lang="nb-NO" dirty="0">
                <a:solidFill>
                  <a:srgbClr val="3A7EC0"/>
                </a:solidFill>
              </a:rPr>
              <a:t>brukere, pårørende</a:t>
            </a:r>
            <a:br>
              <a:rPr lang="nb-NO" dirty="0">
                <a:solidFill>
                  <a:srgbClr val="3A7EC0"/>
                </a:solidFill>
              </a:rPr>
            </a:br>
            <a:r>
              <a:rPr lang="nb-NO" dirty="0">
                <a:solidFill>
                  <a:srgbClr val="3A7EC0"/>
                </a:solidFill>
              </a:rPr>
              <a:t>og kommunen:</a:t>
            </a: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22" t="37184" r="35889" b="2594"/>
          <a:stretch/>
        </p:blipFill>
        <p:spPr>
          <a:xfrm>
            <a:off x="8325132" y="1182539"/>
            <a:ext cx="638462" cy="580543"/>
          </a:xfrm>
          <a:prstGeom prst="rect">
            <a:avLst/>
          </a:prstGeom>
        </p:spPr>
      </p:pic>
      <p:sp>
        <p:nvSpPr>
          <p:cNvPr id="66" name="Title 1"/>
          <p:cNvSpPr txBox="1">
            <a:spLocks/>
          </p:cNvSpPr>
          <p:nvPr/>
        </p:nvSpPr>
        <p:spPr>
          <a:xfrm>
            <a:off x="6753199" y="1985590"/>
            <a:ext cx="2721495" cy="8910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rgbClr val="3A7EC0"/>
                </a:solidFill>
              </a:rPr>
              <a:t>Unngåtte kostnader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unngåtte kostnader her]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7" name="Title 1"/>
          <p:cNvSpPr txBox="1">
            <a:spLocks/>
          </p:cNvSpPr>
          <p:nvPr/>
        </p:nvSpPr>
        <p:spPr>
          <a:xfrm>
            <a:off x="6753200" y="3789039"/>
            <a:ext cx="2861524" cy="11788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rgbClr val="3A7EC0"/>
                </a:solidFill>
              </a:rPr>
              <a:t>Kvalitet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kvalitet her]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8" name="Title 1"/>
          <p:cNvSpPr txBox="1">
            <a:spLocks/>
          </p:cNvSpPr>
          <p:nvPr/>
        </p:nvSpPr>
        <p:spPr>
          <a:xfrm>
            <a:off x="6753199" y="2876672"/>
            <a:ext cx="2721495" cy="91236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rgbClr val="3A7EC0"/>
                </a:solidFill>
              </a:rPr>
              <a:t>Tid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spart tid her]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4232920" y="5013176"/>
            <a:ext cx="2039257" cy="14435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Utfordring som vil løses:</a:t>
            </a:r>
          </a:p>
          <a:p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Beskriv utfordringen som idéen vil hjelpe å løse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0" name="Title 1"/>
          <p:cNvSpPr txBox="1">
            <a:spLocks/>
          </p:cNvSpPr>
          <p:nvPr/>
        </p:nvSpPr>
        <p:spPr>
          <a:xfrm>
            <a:off x="6681192" y="5013177"/>
            <a:ext cx="2985786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Hva kreves for å implementere idéen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endringer dere ser for dere]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32156" y="5013177"/>
            <a:ext cx="3900764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Beskrivelse av idéen: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idébeskrivelsen her]</a:t>
            </a:r>
          </a:p>
          <a:p>
            <a:endParaRPr lang="nb-NO" dirty="0">
              <a:cs typeface="Arial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 flipV="1">
            <a:off x="4160912" y="4967845"/>
            <a:ext cx="0" cy="1644805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Freeform 74"/>
          <p:cNvSpPr/>
          <p:nvPr/>
        </p:nvSpPr>
        <p:spPr>
          <a:xfrm>
            <a:off x="9065335" y="1295755"/>
            <a:ext cx="409360" cy="405013"/>
          </a:xfrm>
          <a:custGeom>
            <a:avLst/>
            <a:gdLst>
              <a:gd name="connsiteX0" fmla="*/ 24663 w 696434"/>
              <a:gd name="connsiteY0" fmla="*/ 38271 h 689040"/>
              <a:gd name="connsiteX1" fmla="*/ 45656 w 696434"/>
              <a:gd name="connsiteY1" fmla="*/ 153730 h 689040"/>
              <a:gd name="connsiteX2" fmla="*/ 56152 w 696434"/>
              <a:gd name="connsiteY2" fmla="*/ 185219 h 689040"/>
              <a:gd name="connsiteX3" fmla="*/ 66649 w 696434"/>
              <a:gd name="connsiteY3" fmla="*/ 227204 h 689040"/>
              <a:gd name="connsiteX4" fmla="*/ 87641 w 696434"/>
              <a:gd name="connsiteY4" fmla="*/ 290182 h 689040"/>
              <a:gd name="connsiteX5" fmla="*/ 108634 w 696434"/>
              <a:gd name="connsiteY5" fmla="*/ 321671 h 689040"/>
              <a:gd name="connsiteX6" fmla="*/ 150620 w 696434"/>
              <a:gd name="connsiteY6" fmla="*/ 395144 h 689040"/>
              <a:gd name="connsiteX7" fmla="*/ 192606 w 696434"/>
              <a:gd name="connsiteY7" fmla="*/ 458122 h 689040"/>
              <a:gd name="connsiteX8" fmla="*/ 224095 w 696434"/>
              <a:gd name="connsiteY8" fmla="*/ 521100 h 689040"/>
              <a:gd name="connsiteX9" fmla="*/ 255584 w 696434"/>
              <a:gd name="connsiteY9" fmla="*/ 542092 h 689040"/>
              <a:gd name="connsiteX10" fmla="*/ 287074 w 696434"/>
              <a:gd name="connsiteY10" fmla="*/ 605070 h 689040"/>
              <a:gd name="connsiteX11" fmla="*/ 318563 w 696434"/>
              <a:gd name="connsiteY11" fmla="*/ 626062 h 689040"/>
              <a:gd name="connsiteX12" fmla="*/ 371045 w 696434"/>
              <a:gd name="connsiteY12" fmla="*/ 689040 h 689040"/>
              <a:gd name="connsiteX13" fmla="*/ 402534 w 696434"/>
              <a:gd name="connsiteY13" fmla="*/ 678544 h 689040"/>
              <a:gd name="connsiteX14" fmla="*/ 423527 w 696434"/>
              <a:gd name="connsiteY14" fmla="*/ 647055 h 689040"/>
              <a:gd name="connsiteX15" fmla="*/ 455016 w 696434"/>
              <a:gd name="connsiteY15" fmla="*/ 626062 h 689040"/>
              <a:gd name="connsiteX16" fmla="*/ 465513 w 696434"/>
              <a:gd name="connsiteY16" fmla="*/ 594574 h 689040"/>
              <a:gd name="connsiteX17" fmla="*/ 528491 w 696434"/>
              <a:gd name="connsiteY17" fmla="*/ 531596 h 689040"/>
              <a:gd name="connsiteX18" fmla="*/ 538988 w 696434"/>
              <a:gd name="connsiteY18" fmla="*/ 500107 h 689040"/>
              <a:gd name="connsiteX19" fmla="*/ 559981 w 696434"/>
              <a:gd name="connsiteY19" fmla="*/ 426633 h 689040"/>
              <a:gd name="connsiteX20" fmla="*/ 580973 w 696434"/>
              <a:gd name="connsiteY20" fmla="*/ 395144 h 689040"/>
              <a:gd name="connsiteX21" fmla="*/ 612463 w 696434"/>
              <a:gd name="connsiteY21" fmla="*/ 321671 h 689040"/>
              <a:gd name="connsiteX22" fmla="*/ 654448 w 696434"/>
              <a:gd name="connsiteY22" fmla="*/ 227204 h 689040"/>
              <a:gd name="connsiteX23" fmla="*/ 664945 w 696434"/>
              <a:gd name="connsiteY23" fmla="*/ 185219 h 689040"/>
              <a:gd name="connsiteX24" fmla="*/ 675441 w 696434"/>
              <a:gd name="connsiteY24" fmla="*/ 153730 h 689040"/>
              <a:gd name="connsiteX25" fmla="*/ 696434 w 696434"/>
              <a:gd name="connsiteY25" fmla="*/ 69760 h 689040"/>
              <a:gd name="connsiteX26" fmla="*/ 423527 w 696434"/>
              <a:gd name="connsiteY26" fmla="*/ 38271 h 689040"/>
              <a:gd name="connsiteX27" fmla="*/ 24663 w 696434"/>
              <a:gd name="connsiteY27" fmla="*/ 38271 h 68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96434" h="689040">
                <a:moveTo>
                  <a:pt x="24663" y="38271"/>
                </a:moveTo>
                <a:cubicBezTo>
                  <a:pt x="-38315" y="57514"/>
                  <a:pt x="38317" y="124376"/>
                  <a:pt x="45656" y="153730"/>
                </a:cubicBezTo>
                <a:cubicBezTo>
                  <a:pt x="48339" y="164464"/>
                  <a:pt x="53112" y="174581"/>
                  <a:pt x="56152" y="185219"/>
                </a:cubicBezTo>
                <a:cubicBezTo>
                  <a:pt x="60115" y="199090"/>
                  <a:pt x="62504" y="213387"/>
                  <a:pt x="66649" y="227204"/>
                </a:cubicBezTo>
                <a:cubicBezTo>
                  <a:pt x="73007" y="248399"/>
                  <a:pt x="75366" y="271770"/>
                  <a:pt x="87641" y="290182"/>
                </a:cubicBezTo>
                <a:cubicBezTo>
                  <a:pt x="94639" y="300678"/>
                  <a:pt x="102992" y="310388"/>
                  <a:pt x="108634" y="321671"/>
                </a:cubicBezTo>
                <a:cubicBezTo>
                  <a:pt x="156733" y="417864"/>
                  <a:pt x="61786" y="268240"/>
                  <a:pt x="150620" y="395144"/>
                </a:cubicBezTo>
                <a:cubicBezTo>
                  <a:pt x="165089" y="415813"/>
                  <a:pt x="192606" y="458122"/>
                  <a:pt x="192606" y="458122"/>
                </a:cubicBezTo>
                <a:cubicBezTo>
                  <a:pt x="201143" y="483733"/>
                  <a:pt x="203747" y="500752"/>
                  <a:pt x="224095" y="521100"/>
                </a:cubicBezTo>
                <a:cubicBezTo>
                  <a:pt x="233015" y="530020"/>
                  <a:pt x="245088" y="535095"/>
                  <a:pt x="255584" y="542092"/>
                </a:cubicBezTo>
                <a:cubicBezTo>
                  <a:pt x="264121" y="567702"/>
                  <a:pt x="266727" y="584723"/>
                  <a:pt x="287074" y="605070"/>
                </a:cubicBezTo>
                <a:cubicBezTo>
                  <a:pt x="295994" y="613990"/>
                  <a:pt x="308872" y="617986"/>
                  <a:pt x="318563" y="626062"/>
                </a:cubicBezTo>
                <a:cubicBezTo>
                  <a:pt x="348869" y="651317"/>
                  <a:pt x="350404" y="658079"/>
                  <a:pt x="371045" y="689040"/>
                </a:cubicBezTo>
                <a:cubicBezTo>
                  <a:pt x="381541" y="685541"/>
                  <a:pt x="393894" y="685456"/>
                  <a:pt x="402534" y="678544"/>
                </a:cubicBezTo>
                <a:cubicBezTo>
                  <a:pt x="412385" y="670663"/>
                  <a:pt x="414607" y="655975"/>
                  <a:pt x="423527" y="647055"/>
                </a:cubicBezTo>
                <a:cubicBezTo>
                  <a:pt x="432447" y="638135"/>
                  <a:pt x="444520" y="633060"/>
                  <a:pt x="455016" y="626062"/>
                </a:cubicBezTo>
                <a:cubicBezTo>
                  <a:pt x="458515" y="615566"/>
                  <a:pt x="458720" y="603307"/>
                  <a:pt x="465513" y="594574"/>
                </a:cubicBezTo>
                <a:cubicBezTo>
                  <a:pt x="483740" y="571140"/>
                  <a:pt x="528491" y="531596"/>
                  <a:pt x="528491" y="531596"/>
                </a:cubicBezTo>
                <a:cubicBezTo>
                  <a:pt x="531990" y="521100"/>
                  <a:pt x="535948" y="510745"/>
                  <a:pt x="538988" y="500107"/>
                </a:cubicBezTo>
                <a:cubicBezTo>
                  <a:pt x="543475" y="484404"/>
                  <a:pt x="551589" y="443417"/>
                  <a:pt x="559981" y="426633"/>
                </a:cubicBezTo>
                <a:cubicBezTo>
                  <a:pt x="565623" y="415350"/>
                  <a:pt x="573976" y="405640"/>
                  <a:pt x="580973" y="395144"/>
                </a:cubicBezTo>
                <a:cubicBezTo>
                  <a:pt x="608742" y="284075"/>
                  <a:pt x="571039" y="414872"/>
                  <a:pt x="612463" y="321671"/>
                </a:cubicBezTo>
                <a:cubicBezTo>
                  <a:pt x="662431" y="209245"/>
                  <a:pt x="606938" y="298472"/>
                  <a:pt x="654448" y="227204"/>
                </a:cubicBezTo>
                <a:cubicBezTo>
                  <a:pt x="657947" y="213209"/>
                  <a:pt x="660982" y="199090"/>
                  <a:pt x="664945" y="185219"/>
                </a:cubicBezTo>
                <a:cubicBezTo>
                  <a:pt x="667985" y="174581"/>
                  <a:pt x="672530" y="164404"/>
                  <a:pt x="675441" y="153730"/>
                </a:cubicBezTo>
                <a:cubicBezTo>
                  <a:pt x="683032" y="125895"/>
                  <a:pt x="696434" y="69760"/>
                  <a:pt x="696434" y="69760"/>
                </a:cubicBezTo>
                <a:cubicBezTo>
                  <a:pt x="664806" y="-56756"/>
                  <a:pt x="699752" y="24797"/>
                  <a:pt x="423527" y="38271"/>
                </a:cubicBezTo>
                <a:cubicBezTo>
                  <a:pt x="109905" y="53570"/>
                  <a:pt x="87641" y="19028"/>
                  <a:pt x="24663" y="38271"/>
                </a:cubicBezTo>
                <a:close/>
              </a:path>
            </a:pathLst>
          </a:cu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385656" y="1124745"/>
            <a:ext cx="6192688" cy="762510"/>
          </a:xfrm>
          <a:prstGeom prst="rect">
            <a:avLst/>
          </a:prstGeom>
          <a:noFill/>
        </p:spPr>
        <p:txBody>
          <a:bodyPr wrap="square" lIns="71995" tIns="71995" rIns="71995" bIns="71995" rtlCol="0">
            <a:noAutofit/>
          </a:bodyPr>
          <a:lstStyle/>
          <a:p>
            <a:pPr algn="l">
              <a:spcBef>
                <a:spcPct val="20000"/>
              </a:spcBef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[Legg inn illustrasjon av idéen her.]</a:t>
            </a:r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399382" y="516084"/>
            <a:ext cx="7266580" cy="476242"/>
          </a:xfrm>
          <a:prstGeom prst="rect">
            <a:avLst/>
          </a:prstGeom>
        </p:spPr>
        <p:txBody>
          <a:bodyPr lIns="91434" tIns="45717" rIns="91434" bIns="45717"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r>
              <a:rPr lang="nb-NO" sz="1600" dirty="0">
                <a:solidFill>
                  <a:srgbClr val="3A7EC0"/>
                </a:solidFill>
                <a:latin typeface="Arial"/>
                <a:cs typeface="Arial"/>
              </a:rPr>
              <a:t>[Legg inn beskrivende tittel for idéen] 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2</a:t>
            </a:r>
          </a:p>
        </p:txBody>
      </p:sp>
    </p:spTree>
    <p:extLst>
      <p:ext uri="{BB962C8B-B14F-4D97-AF65-F5344CB8AC3E}">
        <p14:creationId xmlns:p14="http://schemas.microsoft.com/office/powerpoint/2010/main" val="7512517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841930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2297637" cy="2847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PRIORITERING AV IDÉER</a:t>
            </a:r>
          </a:p>
        </p:txBody>
      </p:sp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565187" y="980728"/>
            <a:ext cx="6696606" cy="5307990"/>
            <a:chOff x="1506766" y="836712"/>
            <a:chExt cx="7034052" cy="5575463"/>
          </a:xfrm>
        </p:grpSpPr>
        <p:cxnSp>
          <p:nvCxnSpPr>
            <p:cNvPr id="20" name="Straight Arrow Connector 19"/>
            <p:cNvCxnSpPr/>
            <p:nvPr/>
          </p:nvCxnSpPr>
          <p:spPr>
            <a:xfrm flipV="1">
              <a:off x="5000772" y="1164889"/>
              <a:ext cx="0" cy="4893421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rot="5400000" flipV="1">
              <a:off x="5000772" y="1164888"/>
              <a:ext cx="0" cy="4893423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4124540" y="836712"/>
              <a:ext cx="173036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Enkelt å gjennomføre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996690" y="6121218"/>
              <a:ext cx="199545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Vanskelig å gjennomføre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493329" y="3462735"/>
              <a:ext cx="1047489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Stor gevinst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506766" y="3462735"/>
              <a:ext cx="1101555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Liten gevinst</a:t>
              </a: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88349" y="5104595"/>
              <a:ext cx="828568" cy="953716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103" y="1102141"/>
              <a:ext cx="806658" cy="1008111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42736" y="1098155"/>
              <a:ext cx="774181" cy="848028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14178" y="5150258"/>
              <a:ext cx="833503" cy="970961"/>
            </a:xfrm>
            <a:prstGeom prst="rect">
              <a:avLst/>
            </a:prstGeom>
          </p:spPr>
        </p:pic>
      </p:grp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18" name="Rounded Rectangle 17"/>
          <p:cNvSpPr/>
          <p:nvPr/>
        </p:nvSpPr>
        <p:spPr>
          <a:xfrm>
            <a:off x="5076056" y="2204864"/>
            <a:ext cx="1440160" cy="648072"/>
          </a:xfrm>
          <a:prstGeom prst="roundRect">
            <a:avLst/>
          </a:prstGeom>
          <a:solidFill>
            <a:srgbClr val="3A7EC0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Flytt boksene på kartet]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5076056" y="4149080"/>
            <a:ext cx="1440160" cy="648072"/>
          </a:xfrm>
          <a:prstGeom prst="roundRect">
            <a:avLst/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Flytt boksene på kartet]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699792" y="4445981"/>
            <a:ext cx="1440160" cy="648072"/>
          </a:xfrm>
          <a:prstGeom prst="roundRect">
            <a:avLst/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Flytt boksene på kartet]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2843808" y="2553006"/>
            <a:ext cx="1440160" cy="648072"/>
          </a:xfrm>
          <a:prstGeom prst="roundRect">
            <a:avLst/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Flytt boksene på kartet]</a:t>
            </a:r>
          </a:p>
        </p:txBody>
      </p:sp>
    </p:spTree>
    <p:extLst>
      <p:ext uri="{BB962C8B-B14F-4D97-AF65-F5344CB8AC3E}">
        <p14:creationId xmlns:p14="http://schemas.microsoft.com/office/powerpoint/2010/main" val="1016594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MG_1334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949" y="1623164"/>
            <a:ext cx="9514657" cy="5045924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Workshop, idémyldring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Mange nye idéer!</a:t>
            </a:r>
          </a:p>
        </p:txBody>
      </p:sp>
    </p:spTree>
    <p:extLst>
      <p:ext uri="{BB962C8B-B14F-4D97-AF65-F5344CB8AC3E}">
        <p14:creationId xmlns:p14="http://schemas.microsoft.com/office/powerpoint/2010/main" val="3504548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MG_1500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948" y="1635124"/>
            <a:ext cx="9521371" cy="5033964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Workshop, idémyldring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/>
              <a:t>Deling og presentasjon av idéer</a:t>
            </a:r>
          </a:p>
        </p:txBody>
      </p:sp>
    </p:spTree>
    <p:extLst>
      <p:ext uri="{BB962C8B-B14F-4D97-AF65-F5344CB8AC3E}">
        <p14:creationId xmlns:p14="http://schemas.microsoft.com/office/powerpoint/2010/main" val="1092896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troduksjon til idémyldring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824733" cy="4602849"/>
          </a:xfrm>
        </p:spPr>
        <p:txBody>
          <a:bodyPr>
            <a:noAutofit/>
          </a:bodyPr>
          <a:lstStyle/>
          <a:p>
            <a:r>
              <a:rPr lang="nb-NO" b="1" dirty="0">
                <a:solidFill>
                  <a:srgbClr val="3A7EC0"/>
                </a:solidFill>
              </a:rPr>
              <a:t>Hva er idémyldring?</a:t>
            </a:r>
          </a:p>
          <a:p>
            <a:r>
              <a:rPr lang="nb-NO" dirty="0"/>
              <a:t>Idémyldring er en teknikk som står sentralt i innovasjonsprosesser. Det kan brukes i alle stadier av et prosjekt for å komme opp med kreative løsninger på problemer. Løsninger kan være alt fra små hverdagsforbedringer av dagens tjeneste, til mer radikale endringer og helt nye tjenester.</a:t>
            </a:r>
          </a:p>
          <a:p>
            <a:r>
              <a:rPr lang="nb-NO" dirty="0"/>
              <a:t>Idémyldring kan foregå individuelt for å gi hver enkelt mulighet til å etablere egne synspunkter, eller sammen i større grupper for å inspirere hverandre, og bygge videre på andres idéer.</a:t>
            </a:r>
            <a:r>
              <a:rPr lang="en-GB" dirty="0"/>
              <a:t> </a:t>
            </a:r>
          </a:p>
          <a:p>
            <a:endParaRPr lang="en-GB" dirty="0"/>
          </a:p>
          <a:p>
            <a:r>
              <a:rPr lang="nb-NO" dirty="0"/>
              <a:t>Hensikten er å omsette det dere har lært gjennom innsiktsarbeidet til gode idéer og spennende løsninger. Det er viktig å la fantasien løpe og tenke litt ”utenfor boksen”. </a:t>
            </a:r>
          </a:p>
          <a:p>
            <a:endParaRPr lang="nb-NO" dirty="0"/>
          </a:p>
          <a:p>
            <a:r>
              <a:rPr lang="nb-NO" b="1" dirty="0">
                <a:solidFill>
                  <a:srgbClr val="3A7EC0"/>
                </a:solidFill>
              </a:rPr>
              <a:t>Hvorfor gjør vi idémyldring?</a:t>
            </a:r>
          </a:p>
          <a:p>
            <a:r>
              <a:rPr lang="nb-NO" dirty="0"/>
              <a:t>Idémyldring basert på </a:t>
            </a:r>
            <a:r>
              <a:rPr lang="nb-NO" i="1" dirty="0"/>
              <a:t>reelle</a:t>
            </a:r>
            <a:r>
              <a:rPr lang="nb-NO" dirty="0"/>
              <a:t> behov gir helt andre løsningsbilder enn dersom dere bare tar utgangspunkt i antatte behov og kommunens egne behov. Enkle tegninger gjør det enklere for folk å forstå idéene og gi tilbakemeldinger. Idémyldring skaper også engasjement!</a:t>
            </a:r>
          </a:p>
          <a:p>
            <a:endParaRPr lang="nb-NO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/>
        <p:txBody>
          <a:bodyPr>
            <a:no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/>
              <a:t>Dette gjøres parallelt med innsiktsarbeidet og kontinuerlig gjennom hele utviklingsprosessen  etter hvert som man støter på nye utfordringer eller ser nye muligheter.</a:t>
            </a:r>
            <a:endParaRPr lang="nb-NO" b="1" dirty="0">
              <a:solidFill>
                <a:srgbClr val="000000"/>
              </a:solidFill>
              <a:ea typeface="Helvetic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6388025" y="4136586"/>
            <a:ext cx="3161141" cy="2389851"/>
          </a:xfrm>
        </p:spPr>
        <p:txBody>
          <a:bodyPr>
            <a:no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Prosjektleder og team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Ledere og mellomledere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Førstelinje-ansatte som kjenner arbeidsprosessene godt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Eksterne aktører hvis mulig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Innbyggere hvis mulig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lvl="0"/>
            <a:r>
              <a:rPr lang="nb-NO" dirty="0">
                <a:solidFill>
                  <a:srgbClr val="000000"/>
                </a:solidFill>
                <a:ea typeface="Helvetica"/>
                <a:sym typeface="Helvetica"/>
              </a:rPr>
              <a:t>Når utføres dette?</a:t>
            </a:r>
          </a:p>
          <a:p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lvl="0"/>
            <a:r>
              <a:rPr lang="nb-NO" dirty="0">
                <a:solidFill>
                  <a:srgbClr val="000000"/>
                </a:solidFill>
                <a:ea typeface="Helvetica"/>
              </a:rPr>
              <a:t>Hvem er med? </a:t>
            </a:r>
          </a:p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7712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holde en idémyldringsworkshop?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896741" cy="5048231"/>
          </a:xfrm>
        </p:spPr>
        <p:txBody>
          <a:bodyPr>
            <a:noAutofit/>
          </a:bodyPr>
          <a:lstStyle/>
          <a:p>
            <a:r>
              <a:rPr lang="nb-NO" b="1" dirty="0">
                <a:solidFill>
                  <a:srgbClr val="3A7EC0"/>
                </a:solidFill>
              </a:rPr>
              <a:t>FØR </a:t>
            </a:r>
            <a:r>
              <a:rPr lang="nb-NO" dirty="0">
                <a:solidFill>
                  <a:srgbClr val="3A7EC0"/>
                </a:solidFill>
              </a:rPr>
              <a:t>(forberedelser) 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Inviter folk til workshop, planlegg og forbered nøye. 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Ta utgangspunkt i innsikten dere har fått, og lag oppgaver basert på problemene og behovene dere har avdekket. Dette skal gi inspirasjon og retning for idémyldringen. </a:t>
            </a:r>
          </a:p>
          <a:p>
            <a:endParaRPr lang="nb-NO" dirty="0"/>
          </a:p>
          <a:p>
            <a:r>
              <a:rPr lang="nb-NO" b="1" dirty="0">
                <a:solidFill>
                  <a:srgbClr val="3A7EC0"/>
                </a:solidFill>
              </a:rPr>
              <a:t>UNDER</a:t>
            </a:r>
            <a:r>
              <a:rPr lang="nb-NO" dirty="0">
                <a:solidFill>
                  <a:srgbClr val="3A7EC0"/>
                </a:solidFill>
              </a:rPr>
              <a:t> (utførelse)  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Introduser målene for prosjektet og hensikten med workshopen. Bruk god tid på å presentere funnene fra innsiktsarbeidet. Presenter så oppgavene og fordel folk i grupper.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Skap mange og fantasifulle idéer, tenk ”utenfor boksen.” Det kan trigge noe hos andre og resultere i en meningsfylt idé. Tegn og skriv idéene ned på post it-lapper. Sett flere små idéer sammen til større og sterkere idéer (hovedidé/konsept). Fyll opp Idéarket hvor idéen forklares.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Heng opp idéene på en vegg og få gruppene til å presentere dem i plenum. Folk får komme med innspill og stemme på de beste.</a:t>
            </a:r>
          </a:p>
          <a:p>
            <a:endParaRPr lang="nb-NO" dirty="0"/>
          </a:p>
          <a:p>
            <a:r>
              <a:rPr lang="nb-NO" b="1" dirty="0">
                <a:solidFill>
                  <a:srgbClr val="3A7EC0"/>
                </a:solidFill>
              </a:rPr>
              <a:t>ETTER </a:t>
            </a:r>
            <a:r>
              <a:rPr lang="nb-NO" dirty="0">
                <a:solidFill>
                  <a:srgbClr val="3A7EC0"/>
                </a:solidFill>
              </a:rPr>
              <a:t>(etterarbeid)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Ta bilder eller scann tegningene, oppsummer viktige poenger og del med deltagerne.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09549" y="943271"/>
            <a:ext cx="9503023" cy="397498"/>
          </a:xfrm>
        </p:spPr>
        <p:txBody>
          <a:bodyPr/>
          <a:lstStyle/>
          <a:p>
            <a:r>
              <a:rPr lang="nb-NO" dirty="0"/>
              <a:t>Workshopformat nr. 1 </a:t>
            </a:r>
            <a:r>
              <a:rPr lang="nb-NO" b="0" dirty="0"/>
              <a:t>Holdning: Ingen begrensninger, alt er mulig! Hensikt: Lage masse kreative og ville idéer.  </a:t>
            </a:r>
            <a:endParaRPr lang="en-US" b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5</a:t>
            </a:fld>
            <a:endParaRPr lang="nb-NO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393160" y="2080594"/>
            <a:ext cx="3177878" cy="2140494"/>
          </a:xfrm>
        </p:spPr>
        <p:txBody>
          <a:bodyPr>
            <a:noAutofit/>
          </a:bodyPr>
          <a:lstStyle/>
          <a:p>
            <a:pPr marL="210441" indent="-210441">
              <a:buFont typeface="Arial"/>
              <a:buChar char="•"/>
            </a:pPr>
            <a:r>
              <a:rPr lang="nb-NO" dirty="0" err="1">
                <a:solidFill>
                  <a:srgbClr val="000000"/>
                </a:solidFill>
              </a:rPr>
              <a:t>Idéark</a:t>
            </a:r>
            <a:r>
              <a:rPr lang="nb-NO" dirty="0">
                <a:solidFill>
                  <a:srgbClr val="000000"/>
                </a:solidFill>
              </a:rPr>
              <a:t> nr. 1</a:t>
            </a:r>
          </a:p>
          <a:p>
            <a:pPr marL="210441" indent="-210441">
              <a:buFont typeface="Arial"/>
              <a:buChar char="•"/>
            </a:pPr>
            <a:r>
              <a:rPr lang="nb-NO" dirty="0">
                <a:solidFill>
                  <a:srgbClr val="000000"/>
                </a:solidFill>
              </a:rPr>
              <a:t>Tusjer</a:t>
            </a:r>
          </a:p>
          <a:p>
            <a:pPr marL="210441" indent="-210441">
              <a:buFont typeface="Arial"/>
              <a:buChar char="•"/>
            </a:pPr>
            <a:r>
              <a:rPr lang="nb-NO" dirty="0">
                <a:solidFill>
                  <a:srgbClr val="000000"/>
                </a:solidFill>
              </a:rPr>
              <a:t>Tape</a:t>
            </a:r>
          </a:p>
          <a:p>
            <a:pPr marL="0" indent="0">
              <a:lnSpc>
                <a:spcPct val="90000"/>
              </a:lnSpc>
              <a:buNone/>
            </a:pPr>
            <a:endParaRPr lang="nb-NO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nb-NO" b="1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nb-NO" b="1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nb-NO" b="1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nb-NO" b="1" dirty="0">
                <a:solidFill>
                  <a:srgbClr val="000000"/>
                </a:solidFill>
              </a:rPr>
              <a:t>Mal: </a:t>
            </a:r>
            <a:r>
              <a:rPr lang="nb-NO" dirty="0">
                <a:solidFill>
                  <a:srgbClr val="000000"/>
                </a:solidFill>
              </a:rPr>
              <a:t>Workshopformat nr. 1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6402882" y="1759948"/>
            <a:ext cx="3177878" cy="335200"/>
          </a:xfrm>
        </p:spPr>
        <p:txBody>
          <a:bodyPr/>
          <a:lstStyle/>
          <a:p>
            <a:r>
              <a:rPr lang="en-US"/>
              <a:t>Utstyr: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56" y="4338325"/>
            <a:ext cx="3138644" cy="2173375"/>
          </a:xfrm>
          <a:prstGeom prst="rect">
            <a:avLst/>
          </a:prstGeom>
          <a:ln w="3175" cmpd="sng">
            <a:solidFill>
              <a:srgbClr val="7F7F7F"/>
            </a:solidFill>
          </a:ln>
        </p:spPr>
      </p:pic>
    </p:spTree>
    <p:extLst>
      <p:ext uri="{BB962C8B-B14F-4D97-AF65-F5344CB8AC3E}">
        <p14:creationId xmlns:p14="http://schemas.microsoft.com/office/powerpoint/2010/main" val="840778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itle 1"/>
          <p:cNvSpPr txBox="1">
            <a:spLocks/>
          </p:cNvSpPr>
          <p:nvPr/>
        </p:nvSpPr>
        <p:spPr>
          <a:xfrm>
            <a:off x="617538" y="354648"/>
            <a:ext cx="9244227" cy="711200"/>
          </a:xfrm>
          <a:prstGeom prst="rect">
            <a:avLst/>
          </a:prstGeom>
        </p:spPr>
        <p:txBody>
          <a:bodyPr lIns="91418" tIns="45710" rIns="91418" bIns="4571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endParaRPr lang="nb-NO" sz="2400" kern="0" dirty="0">
              <a:solidFill>
                <a:srgbClr val="EF8B0A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5385048" y="5482081"/>
            <a:ext cx="3509784" cy="954087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>
                <a:latin typeface="Arial"/>
                <a:cs typeface="Arial"/>
              </a:rPr>
              <a:t>En idé skal beskrive </a:t>
            </a:r>
            <a:r>
              <a:rPr lang="nb-NO" sz="1400" i="1" dirty="0">
                <a:latin typeface="Arial"/>
                <a:cs typeface="Arial"/>
              </a:rPr>
              <a:t>hvordan</a:t>
            </a:r>
            <a:r>
              <a:rPr lang="nb-NO" sz="1400" dirty="0">
                <a:latin typeface="Arial"/>
                <a:cs typeface="Arial"/>
              </a:rPr>
              <a:t> oppnå f.eks. tverrfaglig samarbeid. Hva må gjøres på nye måter og hvordan skal oppgaver utføres? Hvilke hjelpemidler trenger dere?</a:t>
            </a:r>
          </a:p>
        </p:txBody>
      </p:sp>
      <p:sp>
        <p:nvSpPr>
          <p:cNvPr id="85" name="Rectangle 84"/>
          <p:cNvSpPr/>
          <p:nvPr/>
        </p:nvSpPr>
        <p:spPr>
          <a:xfrm>
            <a:off x="1366110" y="5482081"/>
            <a:ext cx="2074722" cy="738644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>
                <a:latin typeface="Arial"/>
                <a:cs typeface="Arial"/>
              </a:rPr>
              <a:t>Dette er ikke en idé.</a:t>
            </a:r>
          </a:p>
          <a:p>
            <a:pPr algn="l"/>
            <a:r>
              <a:rPr lang="nb-NO" sz="1400" dirty="0">
                <a:latin typeface="Arial"/>
                <a:cs typeface="Arial"/>
              </a:rPr>
              <a:t>Dette er hva dere ønsker å </a:t>
            </a:r>
            <a:r>
              <a:rPr lang="nb-NO" sz="1400" i="1" dirty="0">
                <a:latin typeface="Arial"/>
                <a:cs typeface="Arial"/>
              </a:rPr>
              <a:t>oppnå</a:t>
            </a:r>
            <a:r>
              <a:rPr lang="nb-NO" sz="1400" dirty="0">
                <a:latin typeface="Arial"/>
                <a:cs typeface="Arial"/>
              </a:rPr>
              <a:t>.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2774181" y="-1002693"/>
            <a:ext cx="10259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23010" y="2204864"/>
            <a:ext cx="2504611" cy="2460945"/>
            <a:chOff x="977907" y="2204898"/>
            <a:chExt cx="2025879" cy="1990560"/>
          </a:xfrm>
        </p:grpSpPr>
        <p:pic>
          <p:nvPicPr>
            <p:cNvPr id="3" name="Picture 2" descr="images.jp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7907" y="2204898"/>
              <a:ext cx="2025879" cy="1990560"/>
            </a:xfrm>
            <a:prstGeom prst="rect">
              <a:avLst/>
            </a:prstGeom>
          </p:spPr>
        </p:pic>
        <p:sp>
          <p:nvSpPr>
            <p:cNvPr id="23" name="Title 4"/>
            <p:cNvSpPr txBox="1">
              <a:spLocks/>
            </p:cNvSpPr>
            <p:nvPr/>
          </p:nvSpPr>
          <p:spPr>
            <a:xfrm>
              <a:off x="1260684" y="2548581"/>
              <a:ext cx="1498168" cy="105512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800" kern="1200" baseline="0">
                  <a:solidFill>
                    <a:srgbClr val="3A7EC0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r>
                <a:rPr lang="nb-NO" sz="2400" dirty="0">
                  <a:solidFill>
                    <a:schemeClr val="tx1"/>
                  </a:solidFill>
                </a:rPr>
                <a:t>Tverrfaglig samarbeid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53000" y="1882872"/>
            <a:ext cx="4359275" cy="3130304"/>
            <a:chOff x="5547672" y="1886545"/>
            <a:chExt cx="4164901" cy="2990728"/>
          </a:xfrm>
        </p:grpSpPr>
        <p:pic>
          <p:nvPicPr>
            <p:cNvPr id="21" name="Picture 20" descr="Toten_Idemyldring_7Konsepter_Side_2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7672" y="1886545"/>
              <a:ext cx="3941831" cy="2850106"/>
            </a:xfrm>
            <a:prstGeom prst="rect">
              <a:avLst/>
            </a:prstGeom>
          </p:spPr>
        </p:pic>
        <p:grpSp>
          <p:nvGrpSpPr>
            <p:cNvPr id="6" name="Group 5"/>
            <p:cNvGrpSpPr/>
            <p:nvPr/>
          </p:nvGrpSpPr>
          <p:grpSpPr>
            <a:xfrm>
              <a:off x="8913441" y="2464736"/>
              <a:ext cx="799132" cy="2412537"/>
              <a:chOff x="8913441" y="2464736"/>
              <a:chExt cx="799132" cy="2412537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8913441" y="2492896"/>
                <a:ext cx="799132" cy="238437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18" tIns="45710" rIns="91418" bIns="45710" rtlCol="0" anchor="t"/>
              <a:lstStyle/>
              <a:p>
                <a:pPr algn="ctr"/>
                <a:endParaRPr lang="en-US" b="1">
                  <a:solidFill>
                    <a:srgbClr val="FF9900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8940848" y="2464736"/>
                <a:ext cx="692672" cy="27964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18" tIns="45710" rIns="91418" bIns="45710" rtlCol="0" anchor="t"/>
              <a:lstStyle/>
              <a:p>
                <a:pPr algn="ctr"/>
                <a:endParaRPr lang="en-US" b="1">
                  <a:solidFill>
                    <a:srgbClr val="FF9900"/>
                  </a:solidFill>
                </a:endParaRP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5547672" y="1886546"/>
              <a:ext cx="1061512" cy="4623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8" tIns="45710" rIns="91418" bIns="45710" rtlCol="0" anchor="t"/>
            <a:lstStyle/>
            <a:p>
              <a:pPr algn="ctr"/>
              <a:endParaRPr lang="en-US" b="1">
                <a:solidFill>
                  <a:srgbClr val="FF9900"/>
                </a:solidFill>
              </a:endParaRPr>
            </a:p>
          </p:txBody>
        </p:sp>
      </p:grpSp>
      <p:sp>
        <p:nvSpPr>
          <p:cNvPr id="32" name="Title 13"/>
          <p:cNvSpPr>
            <a:spLocks noGrp="1"/>
          </p:cNvSpPr>
          <p:nvPr>
            <p:ph type="title"/>
          </p:nvPr>
        </p:nvSpPr>
        <p:spPr>
          <a:xfrm>
            <a:off x="208387" y="327262"/>
            <a:ext cx="9504186" cy="557836"/>
          </a:xfrm>
        </p:spPr>
        <p:txBody>
          <a:bodyPr/>
          <a:lstStyle/>
          <a:p>
            <a:r>
              <a:rPr lang="nb-NO" dirty="0"/>
              <a:t>Hva er en idé?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1946182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6799430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617538" y="5073086"/>
            <a:ext cx="8501362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0292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Plakat_Mindset for ideutvikling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0409" y="1634462"/>
            <a:ext cx="3568942" cy="5048231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ps for å tenke kreativ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752725" cy="5048231"/>
          </a:xfrm>
        </p:spPr>
        <p:txBody>
          <a:bodyPr>
            <a:noAutofit/>
          </a:bodyPr>
          <a:lstStyle/>
          <a:p>
            <a:r>
              <a:rPr lang="nb-NO" dirty="0"/>
              <a:t>Åpne opp for å tenke helt nytt! </a:t>
            </a:r>
          </a:p>
          <a:p>
            <a:endParaRPr lang="nb-NO" b="1" dirty="0">
              <a:solidFill>
                <a:schemeClr val="accent1"/>
              </a:solidFill>
            </a:endParaRPr>
          </a:p>
          <a:p>
            <a:r>
              <a:rPr lang="nb-NO" b="1" dirty="0">
                <a:solidFill>
                  <a:schemeClr val="accent1"/>
                </a:solidFill>
              </a:rPr>
              <a:t>Velg en merkevare  </a:t>
            </a:r>
            <a:r>
              <a:rPr lang="nb-NO" dirty="0"/>
              <a:t>Hva om kommunen var Nike, SATS eller Disney? Hvordan ville da kommunen utføre sine helse- og omsorgstjenester? </a:t>
            </a:r>
          </a:p>
          <a:p>
            <a:endParaRPr lang="nb-NO" dirty="0"/>
          </a:p>
          <a:p>
            <a:r>
              <a:rPr lang="nb-NO" b="1" dirty="0">
                <a:solidFill>
                  <a:schemeClr val="accent1"/>
                </a:solidFill>
              </a:rPr>
              <a:t>Hva om? </a:t>
            </a:r>
            <a:r>
              <a:rPr lang="nb-NO" dirty="0"/>
              <a:t>Hva om skolene ble lagt ned – hvordan ville da læring skje? </a:t>
            </a:r>
          </a:p>
          <a:p>
            <a:endParaRPr lang="nb-NO" dirty="0"/>
          </a:p>
          <a:p>
            <a:r>
              <a:rPr lang="nb-NO" b="1" dirty="0">
                <a:solidFill>
                  <a:srgbClr val="3A7EC0"/>
                </a:solidFill>
              </a:rPr>
              <a:t>Kombinere  </a:t>
            </a:r>
            <a:r>
              <a:rPr lang="nb-NO" dirty="0"/>
              <a:t>Ta to ting som ikke har noen åpenbar relasjon, og slå de sammen til en idé. </a:t>
            </a:r>
          </a:p>
          <a:p>
            <a:endParaRPr lang="nb-NO" dirty="0">
              <a:solidFill>
                <a:srgbClr val="FF0000"/>
              </a:solidFill>
            </a:endParaRPr>
          </a:p>
          <a:p>
            <a:r>
              <a:rPr lang="nb-NO" b="1" dirty="0">
                <a:solidFill>
                  <a:srgbClr val="3A7EC0"/>
                </a:solidFill>
              </a:rPr>
              <a:t>Et smil  </a:t>
            </a:r>
            <a:r>
              <a:rPr lang="nb-NO" dirty="0"/>
              <a:t>Tenk at dere skal skape en tjeneste som får folk til å smile!</a:t>
            </a:r>
            <a:endParaRPr lang="nb-NO" dirty="0">
              <a:solidFill>
                <a:srgbClr val="FF0000"/>
              </a:solidFill>
            </a:endParaRPr>
          </a:p>
          <a:p>
            <a:endParaRPr lang="nb-NO" dirty="0">
              <a:solidFill>
                <a:srgbClr val="FF0000"/>
              </a:solidFill>
            </a:endParaRPr>
          </a:p>
          <a:p>
            <a:r>
              <a:rPr lang="nb-NO" b="1" dirty="0">
                <a:solidFill>
                  <a:schemeClr val="accent1"/>
                </a:solidFill>
              </a:rPr>
              <a:t>Ord</a:t>
            </a:r>
            <a:r>
              <a:rPr lang="nb-NO" dirty="0"/>
              <a:t>  Alle skriver ned tilfeldige ord på separate lapper. Kombiner to lapper og tenk idéer rundt ordkombinasjonen. Kombiner to nye osv. </a:t>
            </a:r>
          </a:p>
          <a:p>
            <a:pPr marL="285750" indent="-285750">
              <a:buFont typeface="Arial"/>
              <a:buChar char="•"/>
            </a:pPr>
            <a:endParaRPr lang="nb-NO" dirty="0"/>
          </a:p>
          <a:p>
            <a:r>
              <a:rPr lang="nb-NO" b="1" dirty="0">
                <a:solidFill>
                  <a:srgbClr val="3A7EC0"/>
                </a:solidFill>
              </a:rPr>
              <a:t>Stille idémyldring  </a:t>
            </a:r>
            <a:r>
              <a:rPr lang="nb-NO" dirty="0"/>
              <a:t>Alle kommer opp med idéer hver for seg, for så å dele i gruppen. Det gir ro til å tenke og fører ofte til flere idéer.</a:t>
            </a:r>
          </a:p>
          <a:p>
            <a:endParaRPr lang="nb-NO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Kreativitet er evnen til å oppfatte verden på nye måter, finne skjulte mønstre og grensesprengende løsninger.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0092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 err="1"/>
              <a:t>Utskriftsvennlige</a:t>
            </a:r>
            <a:r>
              <a:rPr lang="nb-NO" dirty="0"/>
              <a:t> mal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/>
              <a:t>Idémyldring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7401272" y="5157192"/>
            <a:ext cx="1802198" cy="1263492"/>
            <a:chOff x="5673080" y="2492896"/>
            <a:chExt cx="1802198" cy="1263492"/>
          </a:xfrm>
        </p:grpSpPr>
        <p:grpSp>
          <p:nvGrpSpPr>
            <p:cNvPr id="5" name="Group 4"/>
            <p:cNvGrpSpPr/>
            <p:nvPr/>
          </p:nvGrpSpPr>
          <p:grpSpPr>
            <a:xfrm>
              <a:off x="5673080" y="2492896"/>
              <a:ext cx="1802198" cy="1263492"/>
              <a:chOff x="5673080" y="2492896"/>
              <a:chExt cx="1802198" cy="1263492"/>
            </a:xfrm>
          </p:grpSpPr>
          <p:sp>
            <p:nvSpPr>
              <p:cNvPr id="7" name="Rounded Rectangle 6"/>
              <p:cNvSpPr/>
              <p:nvPr/>
            </p:nvSpPr>
            <p:spPr>
              <a:xfrm>
                <a:off x="5673080" y="2492896"/>
                <a:ext cx="1802198" cy="1080567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Isosceles Triangle 7"/>
              <p:cNvSpPr/>
              <p:nvPr/>
            </p:nvSpPr>
            <p:spPr>
              <a:xfrm rot="10800000">
                <a:off x="6115397" y="3541390"/>
                <a:ext cx="288032" cy="214998"/>
              </a:xfrm>
              <a:prstGeom prst="triangl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817095" y="2564905"/>
              <a:ext cx="1512169" cy="8412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>
                  <a:solidFill>
                    <a:srgbClr val="000000"/>
                  </a:solidFill>
                </a:rPr>
                <a:t>Skriv ut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>
                  <a:solidFill>
                    <a:srgbClr val="000000"/>
                  </a:solidFill>
                </a:rPr>
                <a:t>side 16-22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>
                  <a:solidFill>
                    <a:srgbClr val="000000"/>
                  </a:solidFill>
                </a:rPr>
                <a:t>i </a:t>
              </a:r>
              <a:r>
                <a:rPr lang="nb-NO" sz="1600" b="1" dirty="0">
                  <a:solidFill>
                    <a:srgbClr val="000000"/>
                  </a:solidFill>
                  <a:latin typeface="Helvetica"/>
                  <a:cs typeface="Helvetica"/>
                </a:rPr>
                <a:t>A3</a:t>
              </a:r>
              <a:r>
                <a:rPr lang="nb-NO" sz="1600" dirty="0">
                  <a:solidFill>
                    <a:srgbClr val="000000"/>
                  </a:solidFill>
                </a:rPr>
                <a:t> format</a:t>
              </a:r>
              <a:endParaRPr kumimoji="0" lang="nb-NO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32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lakat_Mindset for ideutvikling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552074" y="-1162960"/>
            <a:ext cx="6521766" cy="9224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597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171c5399-553c-4413-b82f-bcfac4c4466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mveis_Mal_KHE_NEW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8BAE4A"/>
      </a:hlink>
      <a:folHlink>
        <a:srgbClr val="67674B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92</TotalTime>
  <Words>1086</Words>
  <Application>Microsoft Office PowerPoint</Application>
  <PresentationFormat>A4 (210 x 297 mm)</PresentationFormat>
  <Paragraphs>162</Paragraphs>
  <Slides>19</Slides>
  <Notes>7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9</vt:i4>
      </vt:variant>
    </vt:vector>
  </HeadingPairs>
  <TitlesOfParts>
    <vt:vector size="25" baseType="lpstr">
      <vt:lpstr>Arial</vt:lpstr>
      <vt:lpstr>Calibri</vt:lpstr>
      <vt:lpstr>Georgia</vt:lpstr>
      <vt:lpstr>Helvetica</vt:lpstr>
      <vt:lpstr>Samveis_Mal_KHE_NEW</vt:lpstr>
      <vt:lpstr>think-cell Slide</vt:lpstr>
      <vt:lpstr>PowerPoint-presentasjon</vt:lpstr>
      <vt:lpstr>Workshop, idémyldring</vt:lpstr>
      <vt:lpstr>Workshop, idémyldring</vt:lpstr>
      <vt:lpstr>Introduksjon til idémyldring</vt:lpstr>
      <vt:lpstr>Hvordan holde en idémyldringsworkshop?</vt:lpstr>
      <vt:lpstr>Hva er en idé?</vt:lpstr>
      <vt:lpstr>Tips for å tenke kreativt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>Making Waves Group 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king Waves</dc:creator>
  <cp:lastModifiedBy>Une Tangen</cp:lastModifiedBy>
  <cp:revision>561</cp:revision>
  <dcterms:created xsi:type="dcterms:W3CDTF">2015-06-22T13:44:25Z</dcterms:created>
  <dcterms:modified xsi:type="dcterms:W3CDTF">2023-12-12T14:5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oudStatistics_StoryID">
    <vt:lpwstr>e9317cce-a4f3-4afe-94e2-25d61ca0307f</vt:lpwstr>
  </property>
</Properties>
</file>